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705" r:id="rId2"/>
  </p:sldMasterIdLst>
  <p:notesMasterIdLst>
    <p:notesMasterId r:id="rId4"/>
  </p:notesMasterIdLst>
  <p:sldIdLst>
    <p:sldId id="564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d, Vinaykumar" initials="LV" lastIdx="1" clrIdx="0">
    <p:extLst>
      <p:ext uri="{19B8F6BF-5375-455C-9EA6-DF929625EA0E}">
        <p15:presenceInfo xmlns:p15="http://schemas.microsoft.com/office/powerpoint/2012/main" userId="S::vinaykumar.lad@capgemini.com::413a0620-d5c2-4553-aeb6-c445db52790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2F"/>
    <a:srgbClr val="FF9900"/>
    <a:srgbClr val="FFFFDD"/>
    <a:srgbClr val="FFFFFF"/>
    <a:srgbClr val="FFFFCC"/>
    <a:srgbClr val="A88000"/>
    <a:srgbClr val="8A6900"/>
    <a:srgbClr val="FFE4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3" autoAdjust="0"/>
    <p:restoredTop sz="94249" autoAdjust="0"/>
  </p:normalViewPr>
  <p:slideViewPr>
    <p:cSldViewPr snapToGrid="0">
      <p:cViewPr varScale="1">
        <p:scale>
          <a:sx n="80" d="100"/>
          <a:sy n="80" d="100"/>
        </p:scale>
        <p:origin x="136" y="-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74D45-337E-4F9B-9021-EFBC272EE631}" type="datetimeFigureOut">
              <a:rPr lang="en-US" smtClean="0"/>
              <a:t>11/9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829C0E-301F-458E-AB6E-29B97BFC9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8128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ustom model training</a:t>
            </a:r>
          </a:p>
          <a:p>
            <a:pPr marL="171450" indent="-171450">
              <a:buFontTx/>
              <a:buChar char="-"/>
            </a:pPr>
            <a:r>
              <a:rPr lang="en-US" dirty="0"/>
              <a:t>Using Amazon Comprehend</a:t>
            </a: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829C0E-301F-458E-AB6E-29B97BFC9AD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3568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svg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5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5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www.capgemini.com/optimize-your-business-and-it-operations" TargetMode="Externa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97511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5"/>
          <p:cNvSpPr>
            <a:spLocks/>
          </p:cNvSpPr>
          <p:nvPr userDrawn="1"/>
        </p:nvSpPr>
        <p:spPr bwMode="auto">
          <a:xfrm>
            <a:off x="2238375" y="927100"/>
            <a:ext cx="9953625" cy="5930900"/>
          </a:xfrm>
          <a:custGeom>
            <a:avLst/>
            <a:gdLst>
              <a:gd name="T0" fmla="*/ 2651 w 2651"/>
              <a:gd name="T1" fmla="*/ 1579 h 1579"/>
              <a:gd name="T2" fmla="*/ 77 w 2651"/>
              <a:gd name="T3" fmla="*/ 1579 h 1579"/>
              <a:gd name="T4" fmla="*/ 74 w 2651"/>
              <a:gd name="T5" fmla="*/ 1571 h 1579"/>
              <a:gd name="T6" fmla="*/ 19 w 2651"/>
              <a:gd name="T7" fmla="*/ 1324 h 1579"/>
              <a:gd name="T8" fmla="*/ 2 w 2651"/>
              <a:gd name="T9" fmla="*/ 1163 h 1579"/>
              <a:gd name="T10" fmla="*/ 0 w 2651"/>
              <a:gd name="T11" fmla="*/ 1129 h 1579"/>
              <a:gd name="T12" fmla="*/ 0 w 2651"/>
              <a:gd name="T13" fmla="*/ 1054 h 1579"/>
              <a:gd name="T14" fmla="*/ 1 w 2651"/>
              <a:gd name="T15" fmla="*/ 1048 h 1579"/>
              <a:gd name="T16" fmla="*/ 5 w 2651"/>
              <a:gd name="T17" fmla="*/ 973 h 1579"/>
              <a:gd name="T18" fmla="*/ 29 w 2651"/>
              <a:gd name="T19" fmla="*/ 824 h 1579"/>
              <a:gd name="T20" fmla="*/ 141 w 2651"/>
              <a:gd name="T21" fmla="*/ 541 h 1579"/>
              <a:gd name="T22" fmla="*/ 316 w 2651"/>
              <a:gd name="T23" fmla="*/ 309 h 1579"/>
              <a:gd name="T24" fmla="*/ 432 w 2651"/>
              <a:gd name="T25" fmla="*/ 200 h 1579"/>
              <a:gd name="T26" fmla="*/ 625 w 2651"/>
              <a:gd name="T27" fmla="*/ 56 h 1579"/>
              <a:gd name="T28" fmla="*/ 712 w 2651"/>
              <a:gd name="T29" fmla="*/ 0 h 1579"/>
              <a:gd name="T30" fmla="*/ 714 w 2651"/>
              <a:gd name="T31" fmla="*/ 0 h 1579"/>
              <a:gd name="T32" fmla="*/ 718 w 2651"/>
              <a:gd name="T33" fmla="*/ 3 h 1579"/>
              <a:gd name="T34" fmla="*/ 921 w 2651"/>
              <a:gd name="T35" fmla="*/ 110 h 1579"/>
              <a:gd name="T36" fmla="*/ 1211 w 2651"/>
              <a:gd name="T37" fmla="*/ 250 h 1579"/>
              <a:gd name="T38" fmla="*/ 1535 w 2651"/>
              <a:gd name="T39" fmla="*/ 384 h 1579"/>
              <a:gd name="T40" fmla="*/ 1706 w 2651"/>
              <a:gd name="T41" fmla="*/ 443 h 1579"/>
              <a:gd name="T42" fmla="*/ 2045 w 2651"/>
              <a:gd name="T43" fmla="*/ 528 h 1579"/>
              <a:gd name="T44" fmla="*/ 2329 w 2651"/>
              <a:gd name="T45" fmla="*/ 552 h 1579"/>
              <a:gd name="T46" fmla="*/ 2421 w 2651"/>
              <a:gd name="T47" fmla="*/ 546 h 1579"/>
              <a:gd name="T48" fmla="*/ 2639 w 2651"/>
              <a:gd name="T49" fmla="*/ 486 h 1579"/>
              <a:gd name="T50" fmla="*/ 2651 w 2651"/>
              <a:gd name="T51" fmla="*/ 493 h 1579"/>
              <a:gd name="T52" fmla="*/ 2651 w 2651"/>
              <a:gd name="T53" fmla="*/ 1569 h 1579"/>
              <a:gd name="T54" fmla="*/ 2651 w 2651"/>
              <a:gd name="T55" fmla="*/ 1579 h 15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651" h="1579">
                <a:moveTo>
                  <a:pt x="2651" y="1579"/>
                </a:moveTo>
                <a:cubicBezTo>
                  <a:pt x="1793" y="1579"/>
                  <a:pt x="935" y="1579"/>
                  <a:pt x="77" y="1579"/>
                </a:cubicBezTo>
                <a:cubicBezTo>
                  <a:pt x="76" y="1576"/>
                  <a:pt x="75" y="1574"/>
                  <a:pt x="74" y="1571"/>
                </a:cubicBezTo>
                <a:cubicBezTo>
                  <a:pt x="51" y="1490"/>
                  <a:pt x="32" y="1407"/>
                  <a:pt x="19" y="1324"/>
                </a:cubicBezTo>
                <a:cubicBezTo>
                  <a:pt x="10" y="1270"/>
                  <a:pt x="5" y="1217"/>
                  <a:pt x="2" y="1163"/>
                </a:cubicBezTo>
                <a:cubicBezTo>
                  <a:pt x="1" y="1152"/>
                  <a:pt x="2" y="1140"/>
                  <a:pt x="0" y="1129"/>
                </a:cubicBezTo>
                <a:cubicBezTo>
                  <a:pt x="0" y="1104"/>
                  <a:pt x="0" y="1079"/>
                  <a:pt x="0" y="1054"/>
                </a:cubicBezTo>
                <a:cubicBezTo>
                  <a:pt x="0" y="1052"/>
                  <a:pt x="1" y="1050"/>
                  <a:pt x="1" y="1048"/>
                </a:cubicBezTo>
                <a:cubicBezTo>
                  <a:pt x="1" y="1023"/>
                  <a:pt x="3" y="998"/>
                  <a:pt x="5" y="973"/>
                </a:cubicBezTo>
                <a:cubicBezTo>
                  <a:pt x="10" y="923"/>
                  <a:pt x="18" y="873"/>
                  <a:pt x="29" y="824"/>
                </a:cubicBezTo>
                <a:cubicBezTo>
                  <a:pt x="53" y="724"/>
                  <a:pt x="90" y="630"/>
                  <a:pt x="141" y="541"/>
                </a:cubicBezTo>
                <a:cubicBezTo>
                  <a:pt x="190" y="457"/>
                  <a:pt x="249" y="380"/>
                  <a:pt x="316" y="309"/>
                </a:cubicBezTo>
                <a:cubicBezTo>
                  <a:pt x="352" y="271"/>
                  <a:pt x="391" y="235"/>
                  <a:pt x="432" y="200"/>
                </a:cubicBezTo>
                <a:cubicBezTo>
                  <a:pt x="493" y="148"/>
                  <a:pt x="558" y="100"/>
                  <a:pt x="625" y="56"/>
                </a:cubicBezTo>
                <a:cubicBezTo>
                  <a:pt x="653" y="37"/>
                  <a:pt x="683" y="19"/>
                  <a:pt x="712" y="0"/>
                </a:cubicBezTo>
                <a:cubicBezTo>
                  <a:pt x="712" y="0"/>
                  <a:pt x="713" y="0"/>
                  <a:pt x="714" y="0"/>
                </a:cubicBezTo>
                <a:cubicBezTo>
                  <a:pt x="715" y="1"/>
                  <a:pt x="717" y="2"/>
                  <a:pt x="718" y="3"/>
                </a:cubicBezTo>
                <a:cubicBezTo>
                  <a:pt x="785" y="39"/>
                  <a:pt x="853" y="75"/>
                  <a:pt x="921" y="110"/>
                </a:cubicBezTo>
                <a:cubicBezTo>
                  <a:pt x="1017" y="159"/>
                  <a:pt x="1113" y="206"/>
                  <a:pt x="1211" y="250"/>
                </a:cubicBezTo>
                <a:cubicBezTo>
                  <a:pt x="1318" y="298"/>
                  <a:pt x="1425" y="344"/>
                  <a:pt x="1535" y="384"/>
                </a:cubicBezTo>
                <a:cubicBezTo>
                  <a:pt x="1591" y="405"/>
                  <a:pt x="1648" y="425"/>
                  <a:pt x="1706" y="443"/>
                </a:cubicBezTo>
                <a:cubicBezTo>
                  <a:pt x="1817" y="478"/>
                  <a:pt x="1930" y="508"/>
                  <a:pt x="2045" y="528"/>
                </a:cubicBezTo>
                <a:cubicBezTo>
                  <a:pt x="2139" y="544"/>
                  <a:pt x="2234" y="554"/>
                  <a:pt x="2329" y="552"/>
                </a:cubicBezTo>
                <a:cubicBezTo>
                  <a:pt x="2360" y="551"/>
                  <a:pt x="2390" y="549"/>
                  <a:pt x="2421" y="546"/>
                </a:cubicBezTo>
                <a:cubicBezTo>
                  <a:pt x="2497" y="537"/>
                  <a:pt x="2570" y="519"/>
                  <a:pt x="2639" y="486"/>
                </a:cubicBezTo>
                <a:cubicBezTo>
                  <a:pt x="2651" y="480"/>
                  <a:pt x="2651" y="479"/>
                  <a:pt x="2651" y="493"/>
                </a:cubicBezTo>
                <a:cubicBezTo>
                  <a:pt x="2651" y="852"/>
                  <a:pt x="2651" y="1210"/>
                  <a:pt x="2651" y="1569"/>
                </a:cubicBezTo>
                <a:cubicBezTo>
                  <a:pt x="2651" y="1572"/>
                  <a:pt x="2651" y="1576"/>
                  <a:pt x="2651" y="157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5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7988" y="404813"/>
            <a:ext cx="2286000" cy="510013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252348C-45B4-48E3-B74B-8E834575C8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84032" y="4157668"/>
            <a:ext cx="5399981" cy="1079500"/>
          </a:xfrm>
        </p:spPr>
        <p:txBody>
          <a:bodyPr anchor="b">
            <a:normAutofit/>
          </a:bodyPr>
          <a:lstStyle>
            <a:lvl1pPr algn="r">
              <a:lnSpc>
                <a:spcPts val="3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7620309-84FF-4D53-AD39-936B55216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82672" y="5381481"/>
            <a:ext cx="5401341" cy="1079500"/>
          </a:xfrm>
        </p:spPr>
        <p:txBody>
          <a:bodyPr anchor="t">
            <a:normAutofit/>
          </a:bodyPr>
          <a:lstStyle>
            <a:lvl1pPr marL="0" algn="r">
              <a:lnSpc>
                <a:spcPts val="22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10848121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07988" y="1772770"/>
            <a:ext cx="11376025" cy="46804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07988" y="1412875"/>
            <a:ext cx="11376025" cy="215444"/>
          </a:xfrm>
        </p:spPr>
        <p:txBody>
          <a:bodyPr>
            <a:sp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/>
              <a:t>24-Jan-2018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ADM Autom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11658600" y="6555758"/>
            <a:ext cx="123754" cy="215444"/>
          </a:xfrm>
        </p:spPr>
        <p:txBody>
          <a:bodyPr/>
          <a:lstStyle/>
          <a:p>
            <a:fld id="{DD205EFF-948D-4AF6-B54C-65639188FB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32100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/>
              <a:t>24-Jan-2018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M Autom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658600" y="6555758"/>
            <a:ext cx="123754" cy="215444"/>
          </a:xfrm>
        </p:spPr>
        <p:txBody>
          <a:bodyPr/>
          <a:lstStyle/>
          <a:p>
            <a:fld id="{DD205EFF-948D-4AF6-B54C-65639188FB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09712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1932114"/>
            <a:ext cx="5543551" cy="452107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lo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F279807-494A-45DD-A5C6-24F625316B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40465" y="1932113"/>
            <a:ext cx="5516444" cy="451986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lo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7" y="1420990"/>
            <a:ext cx="5543551" cy="3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6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0465" y="1420990"/>
            <a:ext cx="5516444" cy="3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6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733E381-C11A-4F10-88ED-DDEA4B916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944596" cy="8650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/>
              <a:t>24-Jan-2018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ADM Autom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>
          <a:xfrm>
            <a:off x="11658600" y="6555758"/>
            <a:ext cx="123754" cy="215444"/>
          </a:xfrm>
        </p:spPr>
        <p:txBody>
          <a:bodyPr/>
          <a:lstStyle/>
          <a:p>
            <a:fld id="{DD205EFF-948D-4AF6-B54C-65639188FB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03327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/>
              <a:t>24-Jan-2018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M Autom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658600" y="6555758"/>
            <a:ext cx="123754" cy="215444"/>
          </a:xfrm>
        </p:spPr>
        <p:txBody>
          <a:bodyPr/>
          <a:lstStyle/>
          <a:p>
            <a:fld id="{DD205EFF-948D-4AF6-B54C-65639188FB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03006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hapes - Layout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6376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reeform 9"/>
          <p:cNvSpPr>
            <a:spLocks/>
          </p:cNvSpPr>
          <p:nvPr userDrawn="1"/>
        </p:nvSpPr>
        <p:spPr bwMode="auto">
          <a:xfrm>
            <a:off x="9871075" y="0"/>
            <a:ext cx="2320925" cy="3840163"/>
          </a:xfrm>
          <a:custGeom>
            <a:avLst/>
            <a:gdLst>
              <a:gd name="T0" fmla="*/ 616 w 616"/>
              <a:gd name="T1" fmla="*/ 1021 h 1021"/>
              <a:gd name="T2" fmla="*/ 514 w 616"/>
              <a:gd name="T3" fmla="*/ 895 h 1021"/>
              <a:gd name="T4" fmla="*/ 331 w 616"/>
              <a:gd name="T5" fmla="*/ 659 h 1021"/>
              <a:gd name="T6" fmla="*/ 127 w 616"/>
              <a:gd name="T7" fmla="*/ 326 h 1021"/>
              <a:gd name="T8" fmla="*/ 0 w 616"/>
              <a:gd name="T9" fmla="*/ 0 h 1021"/>
              <a:gd name="T10" fmla="*/ 609 w 616"/>
              <a:gd name="T11" fmla="*/ 0 h 1021"/>
              <a:gd name="T12" fmla="*/ 616 w 616"/>
              <a:gd name="T13" fmla="*/ 8 h 1021"/>
              <a:gd name="T14" fmla="*/ 616 w 616"/>
              <a:gd name="T15" fmla="*/ 1021 h 10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16" h="1021">
                <a:moveTo>
                  <a:pt x="616" y="1021"/>
                </a:moveTo>
                <a:cubicBezTo>
                  <a:pt x="582" y="979"/>
                  <a:pt x="549" y="937"/>
                  <a:pt x="514" y="895"/>
                </a:cubicBezTo>
                <a:cubicBezTo>
                  <a:pt x="451" y="819"/>
                  <a:pt x="389" y="740"/>
                  <a:pt x="331" y="659"/>
                </a:cubicBezTo>
                <a:cubicBezTo>
                  <a:pt x="256" y="553"/>
                  <a:pt x="186" y="443"/>
                  <a:pt x="127" y="326"/>
                </a:cubicBezTo>
                <a:cubicBezTo>
                  <a:pt x="74" y="222"/>
                  <a:pt x="30" y="114"/>
                  <a:pt x="0" y="0"/>
                </a:cubicBezTo>
                <a:cubicBezTo>
                  <a:pt x="203" y="0"/>
                  <a:pt x="406" y="0"/>
                  <a:pt x="609" y="0"/>
                </a:cubicBezTo>
                <a:cubicBezTo>
                  <a:pt x="615" y="0"/>
                  <a:pt x="616" y="1"/>
                  <a:pt x="616" y="8"/>
                </a:cubicBezTo>
                <a:cubicBezTo>
                  <a:pt x="616" y="346"/>
                  <a:pt x="616" y="684"/>
                  <a:pt x="616" y="102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5" name="Freeform 5"/>
          <p:cNvSpPr>
            <a:spLocks/>
          </p:cNvSpPr>
          <p:nvPr userDrawn="1"/>
        </p:nvSpPr>
        <p:spPr bwMode="auto">
          <a:xfrm>
            <a:off x="4270375" y="2336800"/>
            <a:ext cx="7921625" cy="4521200"/>
          </a:xfrm>
          <a:custGeom>
            <a:avLst/>
            <a:gdLst>
              <a:gd name="T0" fmla="*/ 0 w 2110"/>
              <a:gd name="T1" fmla="*/ 304 h 1203"/>
              <a:gd name="T2" fmla="*/ 38 w 2110"/>
              <a:gd name="T3" fmla="*/ 248 h 1203"/>
              <a:gd name="T4" fmla="*/ 212 w 2110"/>
              <a:gd name="T5" fmla="*/ 75 h 1203"/>
              <a:gd name="T6" fmla="*/ 407 w 2110"/>
              <a:gd name="T7" fmla="*/ 8 h 1203"/>
              <a:gd name="T8" fmla="*/ 670 w 2110"/>
              <a:gd name="T9" fmla="*/ 39 h 1203"/>
              <a:gd name="T10" fmla="*/ 881 w 2110"/>
              <a:gd name="T11" fmla="*/ 121 h 1203"/>
              <a:gd name="T12" fmla="*/ 1243 w 2110"/>
              <a:gd name="T13" fmla="*/ 325 h 1203"/>
              <a:gd name="T14" fmla="*/ 1469 w 2110"/>
              <a:gd name="T15" fmla="*/ 455 h 1203"/>
              <a:gd name="T16" fmla="*/ 1857 w 2110"/>
              <a:gd name="T17" fmla="*/ 624 h 1203"/>
              <a:gd name="T18" fmla="*/ 2090 w 2110"/>
              <a:gd name="T19" fmla="*/ 684 h 1203"/>
              <a:gd name="T20" fmla="*/ 2110 w 2110"/>
              <a:gd name="T21" fmla="*/ 687 h 1203"/>
              <a:gd name="T22" fmla="*/ 2110 w 2110"/>
              <a:gd name="T23" fmla="*/ 1201 h 1203"/>
              <a:gd name="T24" fmla="*/ 2102 w 2110"/>
              <a:gd name="T25" fmla="*/ 1201 h 1203"/>
              <a:gd name="T26" fmla="*/ 150 w 2110"/>
              <a:gd name="T27" fmla="*/ 1201 h 1203"/>
              <a:gd name="T28" fmla="*/ 141 w 2110"/>
              <a:gd name="T29" fmla="*/ 1200 h 1203"/>
              <a:gd name="T30" fmla="*/ 145 w 2110"/>
              <a:gd name="T31" fmla="*/ 1195 h 1203"/>
              <a:gd name="T32" fmla="*/ 213 w 2110"/>
              <a:gd name="T33" fmla="*/ 1099 h 1203"/>
              <a:gd name="T34" fmla="*/ 229 w 2110"/>
              <a:gd name="T35" fmla="*/ 923 h 1203"/>
              <a:gd name="T36" fmla="*/ 183 w 2110"/>
              <a:gd name="T37" fmla="*/ 716 h 1203"/>
              <a:gd name="T38" fmla="*/ 79 w 2110"/>
              <a:gd name="T39" fmla="*/ 463 h 1203"/>
              <a:gd name="T40" fmla="*/ 0 w 2110"/>
              <a:gd name="T41" fmla="*/ 310 h 1203"/>
              <a:gd name="T42" fmla="*/ 0 w 2110"/>
              <a:gd name="T43" fmla="*/ 304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10" h="1203">
                <a:moveTo>
                  <a:pt x="0" y="304"/>
                </a:moveTo>
                <a:cubicBezTo>
                  <a:pt x="13" y="286"/>
                  <a:pt x="25" y="267"/>
                  <a:pt x="38" y="248"/>
                </a:cubicBezTo>
                <a:cubicBezTo>
                  <a:pt x="86" y="180"/>
                  <a:pt x="141" y="120"/>
                  <a:pt x="212" y="75"/>
                </a:cubicBezTo>
                <a:cubicBezTo>
                  <a:pt x="272" y="38"/>
                  <a:pt x="337" y="15"/>
                  <a:pt x="407" y="8"/>
                </a:cubicBezTo>
                <a:cubicBezTo>
                  <a:pt x="497" y="0"/>
                  <a:pt x="584" y="14"/>
                  <a:pt x="670" y="39"/>
                </a:cubicBezTo>
                <a:cubicBezTo>
                  <a:pt x="743" y="60"/>
                  <a:pt x="813" y="89"/>
                  <a:pt x="881" y="121"/>
                </a:cubicBezTo>
                <a:cubicBezTo>
                  <a:pt x="1007" y="180"/>
                  <a:pt x="1126" y="251"/>
                  <a:pt x="1243" y="325"/>
                </a:cubicBezTo>
                <a:cubicBezTo>
                  <a:pt x="1317" y="372"/>
                  <a:pt x="1392" y="415"/>
                  <a:pt x="1469" y="455"/>
                </a:cubicBezTo>
                <a:cubicBezTo>
                  <a:pt x="1595" y="521"/>
                  <a:pt x="1723" y="578"/>
                  <a:pt x="1857" y="624"/>
                </a:cubicBezTo>
                <a:cubicBezTo>
                  <a:pt x="1933" y="650"/>
                  <a:pt x="2011" y="671"/>
                  <a:pt x="2090" y="684"/>
                </a:cubicBezTo>
                <a:cubicBezTo>
                  <a:pt x="2097" y="685"/>
                  <a:pt x="2104" y="686"/>
                  <a:pt x="2110" y="687"/>
                </a:cubicBezTo>
                <a:cubicBezTo>
                  <a:pt x="2110" y="858"/>
                  <a:pt x="2110" y="1030"/>
                  <a:pt x="2110" y="1201"/>
                </a:cubicBezTo>
                <a:cubicBezTo>
                  <a:pt x="2107" y="1201"/>
                  <a:pt x="2104" y="1201"/>
                  <a:pt x="2102" y="1201"/>
                </a:cubicBezTo>
                <a:cubicBezTo>
                  <a:pt x="1451" y="1201"/>
                  <a:pt x="801" y="1201"/>
                  <a:pt x="150" y="1201"/>
                </a:cubicBezTo>
                <a:cubicBezTo>
                  <a:pt x="147" y="1201"/>
                  <a:pt x="143" y="1203"/>
                  <a:pt x="141" y="1200"/>
                </a:cubicBezTo>
                <a:cubicBezTo>
                  <a:pt x="141" y="1197"/>
                  <a:pt x="143" y="1196"/>
                  <a:pt x="145" y="1195"/>
                </a:cubicBezTo>
                <a:cubicBezTo>
                  <a:pt x="178" y="1170"/>
                  <a:pt x="199" y="1137"/>
                  <a:pt x="213" y="1099"/>
                </a:cubicBezTo>
                <a:cubicBezTo>
                  <a:pt x="234" y="1042"/>
                  <a:pt x="235" y="983"/>
                  <a:pt x="229" y="923"/>
                </a:cubicBezTo>
                <a:cubicBezTo>
                  <a:pt x="222" y="852"/>
                  <a:pt x="205" y="783"/>
                  <a:pt x="183" y="716"/>
                </a:cubicBezTo>
                <a:cubicBezTo>
                  <a:pt x="154" y="629"/>
                  <a:pt x="118" y="545"/>
                  <a:pt x="79" y="463"/>
                </a:cubicBezTo>
                <a:cubicBezTo>
                  <a:pt x="54" y="411"/>
                  <a:pt x="28" y="360"/>
                  <a:pt x="0" y="310"/>
                </a:cubicBezTo>
                <a:cubicBezTo>
                  <a:pt x="0" y="308"/>
                  <a:pt x="0" y="306"/>
                  <a:pt x="0" y="30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847528" y="2708920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id="{F12D7C74-E8A0-4A7D-95DA-A1411166951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47528" y="3645024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49" name="Picture Placeholder 48">
            <a:extLst>
              <a:ext uri="{FF2B5EF4-FFF2-40B4-BE49-F238E27FC236}">
                <a16:creationId xmlns:a16="http://schemas.microsoft.com/office/drawing/2014/main" id="{4212BD44-DEDF-4B08-8824-204652F9616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53200" y="2060575"/>
            <a:ext cx="4910138" cy="272256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92D6AE9D-467E-46C0-B32B-79A9B07CDD1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47528" y="4630276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pic>
        <p:nvPicPr>
          <p:cNvPr id="9" name="Graphic 4">
            <a:extLst>
              <a:ext uri="{FF2B5EF4-FFF2-40B4-BE49-F238E27FC236}">
                <a16:creationId xmlns:a16="http://schemas.microsoft.com/office/drawing/2014/main" id="{D67A1EFD-D78D-4138-B2FE-E0A098B59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cxnSp>
        <p:nvCxnSpPr>
          <p:cNvPr id="17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68760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/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/>
              <a:t>24-Jan-2018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M Automation Awareness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7"/>
          </p:nvPr>
        </p:nvSpPr>
        <p:spPr>
          <a:xfrm>
            <a:off x="11658600" y="6555758"/>
            <a:ext cx="123754" cy="2154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D205EFF-948D-4AF6-B54C-65639188FB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1370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hapes - Layou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5848EA7-8D7C-4A7B-9182-7C1202EDBFB1}"/>
              </a:ext>
            </a:extLst>
          </p:cNvPr>
          <p:cNvSpPr/>
          <p:nvPr userDrawn="1"/>
        </p:nvSpPr>
        <p:spPr>
          <a:xfrm>
            <a:off x="5550122" y="732974"/>
            <a:ext cx="6641878" cy="6125027"/>
          </a:xfrm>
          <a:custGeom>
            <a:avLst/>
            <a:gdLst>
              <a:gd name="connsiteX0" fmla="*/ 4389354 w 6641878"/>
              <a:gd name="connsiteY0" fmla="*/ 775 h 6125027"/>
              <a:gd name="connsiteX1" fmla="*/ 6309188 w 6641878"/>
              <a:gd name="connsiteY1" fmla="*/ 158122 h 6125027"/>
              <a:gd name="connsiteX2" fmla="*/ 6641878 w 6641878"/>
              <a:gd name="connsiteY2" fmla="*/ 218708 h 6125027"/>
              <a:gd name="connsiteX3" fmla="*/ 6641878 w 6641878"/>
              <a:gd name="connsiteY3" fmla="*/ 6125027 h 6125027"/>
              <a:gd name="connsiteX4" fmla="*/ 0 w 6641878"/>
              <a:gd name="connsiteY4" fmla="*/ 6125027 h 6125027"/>
              <a:gd name="connsiteX5" fmla="*/ 90624 w 6641878"/>
              <a:gd name="connsiteY5" fmla="*/ 5875088 h 6125027"/>
              <a:gd name="connsiteX6" fmla="*/ 3403890 w 6641878"/>
              <a:gd name="connsiteY6" fmla="*/ 22965 h 6125027"/>
              <a:gd name="connsiteX7" fmla="*/ 4389354 w 6641878"/>
              <a:gd name="connsiteY7" fmla="*/ 775 h 6125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41878" h="6125027">
                <a:moveTo>
                  <a:pt x="4389354" y="775"/>
                </a:moveTo>
                <a:cubicBezTo>
                  <a:pt x="5042595" y="7500"/>
                  <a:pt x="5686424" y="58155"/>
                  <a:pt x="6309188" y="158122"/>
                </a:cubicBezTo>
                <a:lnTo>
                  <a:pt x="6641878" y="218708"/>
                </a:lnTo>
                <a:lnTo>
                  <a:pt x="6641878" y="6125027"/>
                </a:lnTo>
                <a:lnTo>
                  <a:pt x="0" y="6125027"/>
                </a:lnTo>
                <a:lnTo>
                  <a:pt x="90624" y="5875088"/>
                </a:lnTo>
                <a:cubicBezTo>
                  <a:pt x="963229" y="3633055"/>
                  <a:pt x="2980348" y="1576261"/>
                  <a:pt x="3403890" y="22965"/>
                </a:cubicBezTo>
                <a:cubicBezTo>
                  <a:pt x="3733760" y="5034"/>
                  <a:pt x="4062734" y="-2587"/>
                  <a:pt x="4389354" y="775"/>
                </a:cubicBezTo>
                <a:close/>
              </a:path>
            </a:pathLst>
          </a:custGeom>
          <a:solidFill>
            <a:srgbClr val="FF30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B223EFB8-88D3-4227-B238-464A474B85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44699" y="3913792"/>
            <a:ext cx="2994439" cy="8948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274C953F-F6D9-4EEF-A914-7C47201B55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44699" y="5111406"/>
            <a:ext cx="2994439" cy="8948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053B0AF9-F410-4C47-9D9C-CAC9890E42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1413990"/>
            <a:ext cx="629789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4C26CB88-1502-4963-9C3F-B1DA179217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44699" y="2611604"/>
            <a:ext cx="2994439" cy="8948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14E8646B-8451-4052-9B50-DB60E346C8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92144" y="5276721"/>
            <a:ext cx="4391869" cy="729525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lnSpc>
                <a:spcPts val="1800"/>
              </a:lnSpc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A06380E9-5885-470D-9428-A5F69B3262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92144" y="4140764"/>
            <a:ext cx="4391869" cy="974725"/>
          </a:xfrm>
          <a:prstGeom prst="rect">
            <a:avLst/>
          </a:prstGeom>
        </p:spPr>
        <p:txBody>
          <a:bodyPr anchor="b">
            <a:noAutofit/>
          </a:bodyPr>
          <a:lstStyle>
            <a:lvl1pPr algn="r">
              <a:lnSpc>
                <a:spcPts val="3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cxnSp>
        <p:nvCxnSpPr>
          <p:cNvPr id="18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68760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/>
              <a:t>24-Jan-2018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M Automation Awareness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>
          <a:xfrm>
            <a:off x="11658600" y="6555758"/>
            <a:ext cx="123754" cy="2154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D205EFF-948D-4AF6-B54C-65639188FB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6082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with Shapes - Layout2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7D1DC75A-C7A4-44A4-B19C-D445335545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2204864"/>
            <a:ext cx="3618859" cy="292462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lnSpc>
                <a:spcPct val="100000"/>
              </a:lnSpc>
              <a:defRPr sz="2800">
                <a:solidFill>
                  <a:srgbClr val="2C004B"/>
                </a:solidFill>
              </a:defRPr>
            </a:lvl1pPr>
            <a:lvl2pPr marL="457200" indent="0">
              <a:lnSpc>
                <a:spcPts val="6200"/>
              </a:lnSpc>
              <a:buNone/>
              <a:defRPr sz="5400">
                <a:solidFill>
                  <a:srgbClr val="2C004B"/>
                </a:solidFill>
              </a:defRPr>
            </a:lvl2pPr>
          </a:lstStyle>
          <a:p>
            <a:pPr lvl="0"/>
            <a:r>
              <a:rPr lang="en-US" dirty="0"/>
              <a:t>Edit text styles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63879A0-0979-491A-8758-371BB7AD93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5273460"/>
            <a:ext cx="3618859" cy="67582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2C004B"/>
                </a:solidFill>
              </a:defRPr>
            </a:lvl1pPr>
            <a:lvl2pPr marL="457200" indent="0">
              <a:buNone/>
              <a:defRPr sz="1800">
                <a:solidFill>
                  <a:srgbClr val="2C004B"/>
                </a:solidFill>
              </a:defRPr>
            </a:lvl2pPr>
          </a:lstStyle>
          <a:p>
            <a:pPr lvl="0"/>
            <a:r>
              <a:rPr lang="en-US" dirty="0"/>
              <a:t>Edit text styl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76958A6-8FB1-445D-BB17-D619DC39E089}"/>
              </a:ext>
            </a:extLst>
          </p:cNvPr>
          <p:cNvGrpSpPr/>
          <p:nvPr userDrawn="1"/>
        </p:nvGrpSpPr>
        <p:grpSpPr>
          <a:xfrm>
            <a:off x="3461852" y="0"/>
            <a:ext cx="8730148" cy="6858000"/>
            <a:chOff x="3461852" y="0"/>
            <a:chExt cx="8730148" cy="6858000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3C37792F-39D6-4A1F-BE84-103229E3E4C7}"/>
                </a:ext>
              </a:extLst>
            </p:cNvPr>
            <p:cNvSpPr/>
            <p:nvPr/>
          </p:nvSpPr>
          <p:spPr>
            <a:xfrm>
              <a:off x="3461852" y="0"/>
              <a:ext cx="8730148" cy="6858000"/>
            </a:xfrm>
            <a:custGeom>
              <a:avLst/>
              <a:gdLst>
                <a:gd name="connsiteX0" fmla="*/ 0 w 8730148"/>
                <a:gd name="connsiteY0" fmla="*/ 0 h 6858000"/>
                <a:gd name="connsiteX1" fmla="*/ 8730148 w 8730148"/>
                <a:gd name="connsiteY1" fmla="*/ 0 h 6858000"/>
                <a:gd name="connsiteX2" fmla="*/ 8730148 w 8730148"/>
                <a:gd name="connsiteY2" fmla="*/ 23679 h 6858000"/>
                <a:gd name="connsiteX3" fmla="*/ 8730148 w 8730148"/>
                <a:gd name="connsiteY3" fmla="*/ 495863 h 6858000"/>
                <a:gd name="connsiteX4" fmla="*/ 8730148 w 8730148"/>
                <a:gd name="connsiteY4" fmla="*/ 952308 h 6858000"/>
                <a:gd name="connsiteX5" fmla="*/ 8730148 w 8730148"/>
                <a:gd name="connsiteY5" fmla="*/ 1393283 h 6858000"/>
                <a:gd name="connsiteX6" fmla="*/ 8730148 w 8730148"/>
                <a:gd name="connsiteY6" fmla="*/ 1819052 h 6858000"/>
                <a:gd name="connsiteX7" fmla="*/ 8730148 w 8730148"/>
                <a:gd name="connsiteY7" fmla="*/ 2229885 h 6858000"/>
                <a:gd name="connsiteX8" fmla="*/ 8730148 w 8730148"/>
                <a:gd name="connsiteY8" fmla="*/ 2626046 h 6858000"/>
                <a:gd name="connsiteX9" fmla="*/ 8730148 w 8730148"/>
                <a:gd name="connsiteY9" fmla="*/ 3007803 h 6858000"/>
                <a:gd name="connsiteX10" fmla="*/ 8730148 w 8730148"/>
                <a:gd name="connsiteY10" fmla="*/ 3375422 h 6858000"/>
                <a:gd name="connsiteX11" fmla="*/ 8730148 w 8730148"/>
                <a:gd name="connsiteY11" fmla="*/ 3729171 h 6858000"/>
                <a:gd name="connsiteX12" fmla="*/ 8730148 w 8730148"/>
                <a:gd name="connsiteY12" fmla="*/ 4069315 h 6858000"/>
                <a:gd name="connsiteX13" fmla="*/ 8730148 w 8730148"/>
                <a:gd name="connsiteY13" fmla="*/ 4396123 h 6858000"/>
                <a:gd name="connsiteX14" fmla="*/ 8730148 w 8730148"/>
                <a:gd name="connsiteY14" fmla="*/ 4709860 h 6858000"/>
                <a:gd name="connsiteX15" fmla="*/ 8730148 w 8730148"/>
                <a:gd name="connsiteY15" fmla="*/ 5010793 h 6858000"/>
                <a:gd name="connsiteX16" fmla="*/ 8730148 w 8730148"/>
                <a:gd name="connsiteY16" fmla="*/ 5299189 h 6858000"/>
                <a:gd name="connsiteX17" fmla="*/ 8730148 w 8730148"/>
                <a:gd name="connsiteY17" fmla="*/ 5575315 h 6858000"/>
                <a:gd name="connsiteX18" fmla="*/ 8730148 w 8730148"/>
                <a:gd name="connsiteY18" fmla="*/ 5839437 h 6858000"/>
                <a:gd name="connsiteX19" fmla="*/ 8730148 w 8730148"/>
                <a:gd name="connsiteY19" fmla="*/ 6091822 h 6858000"/>
                <a:gd name="connsiteX20" fmla="*/ 8730148 w 8730148"/>
                <a:gd name="connsiteY20" fmla="*/ 6332738 h 6858000"/>
                <a:gd name="connsiteX21" fmla="*/ 8730148 w 8730148"/>
                <a:gd name="connsiteY21" fmla="*/ 6562450 h 6858000"/>
                <a:gd name="connsiteX22" fmla="*/ 8730148 w 8730148"/>
                <a:gd name="connsiteY22" fmla="*/ 6781226 h 6858000"/>
                <a:gd name="connsiteX23" fmla="*/ 8730148 w 8730148"/>
                <a:gd name="connsiteY23" fmla="*/ 6858000 h 6858000"/>
                <a:gd name="connsiteX24" fmla="*/ 1680266 w 8730148"/>
                <a:gd name="connsiteY24" fmla="*/ 6858000 h 6858000"/>
                <a:gd name="connsiteX25" fmla="*/ 1725275 w 8730148"/>
                <a:gd name="connsiteY25" fmla="*/ 6819058 h 6858000"/>
                <a:gd name="connsiteX26" fmla="*/ 3705962 w 8730148"/>
                <a:gd name="connsiteY26" fmla="*/ 2012619 h 6858000"/>
                <a:gd name="connsiteX27" fmla="*/ 116582 w 8730148"/>
                <a:gd name="connsiteY27" fmla="*/ 25323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30148" h="6858000">
                  <a:moveTo>
                    <a:pt x="0" y="0"/>
                  </a:moveTo>
                  <a:lnTo>
                    <a:pt x="8730148" y="0"/>
                  </a:lnTo>
                  <a:lnTo>
                    <a:pt x="8730148" y="23679"/>
                  </a:lnTo>
                  <a:lnTo>
                    <a:pt x="8730148" y="495863"/>
                  </a:lnTo>
                  <a:lnTo>
                    <a:pt x="8730148" y="952308"/>
                  </a:lnTo>
                  <a:lnTo>
                    <a:pt x="8730148" y="1393283"/>
                  </a:lnTo>
                  <a:lnTo>
                    <a:pt x="8730148" y="1819052"/>
                  </a:lnTo>
                  <a:lnTo>
                    <a:pt x="8730148" y="2229885"/>
                  </a:lnTo>
                  <a:lnTo>
                    <a:pt x="8730148" y="2626046"/>
                  </a:lnTo>
                  <a:lnTo>
                    <a:pt x="8730148" y="3007803"/>
                  </a:lnTo>
                  <a:lnTo>
                    <a:pt x="8730148" y="3375422"/>
                  </a:lnTo>
                  <a:lnTo>
                    <a:pt x="8730148" y="3729171"/>
                  </a:lnTo>
                  <a:lnTo>
                    <a:pt x="8730148" y="4069315"/>
                  </a:lnTo>
                  <a:lnTo>
                    <a:pt x="8730148" y="4396123"/>
                  </a:lnTo>
                  <a:lnTo>
                    <a:pt x="8730148" y="4709860"/>
                  </a:lnTo>
                  <a:lnTo>
                    <a:pt x="8730148" y="5010793"/>
                  </a:lnTo>
                  <a:lnTo>
                    <a:pt x="8730148" y="5299189"/>
                  </a:lnTo>
                  <a:lnTo>
                    <a:pt x="8730148" y="5575315"/>
                  </a:lnTo>
                  <a:lnTo>
                    <a:pt x="8730148" y="5839437"/>
                  </a:lnTo>
                  <a:lnTo>
                    <a:pt x="8730148" y="6091822"/>
                  </a:lnTo>
                  <a:lnTo>
                    <a:pt x="8730148" y="6332738"/>
                  </a:lnTo>
                  <a:lnTo>
                    <a:pt x="8730148" y="6562450"/>
                  </a:lnTo>
                  <a:lnTo>
                    <a:pt x="8730148" y="6781226"/>
                  </a:lnTo>
                  <a:lnTo>
                    <a:pt x="8730148" y="6858000"/>
                  </a:lnTo>
                  <a:lnTo>
                    <a:pt x="1680266" y="6858000"/>
                  </a:lnTo>
                  <a:lnTo>
                    <a:pt x="1725275" y="6819058"/>
                  </a:lnTo>
                  <a:cubicBezTo>
                    <a:pt x="4662995" y="4201443"/>
                    <a:pt x="4141233" y="1217168"/>
                    <a:pt x="3705962" y="2012619"/>
                  </a:cubicBezTo>
                  <a:cubicBezTo>
                    <a:pt x="3516434" y="3033940"/>
                    <a:pt x="1425698" y="2929072"/>
                    <a:pt x="116582" y="253235"/>
                  </a:cubicBezTo>
                  <a:close/>
                </a:path>
              </a:pathLst>
            </a:custGeom>
            <a:solidFill>
              <a:srgbClr val="2C00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D9D750E2-E6DE-4123-9001-1391D1C49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3803" y="2034666"/>
              <a:ext cx="669225" cy="544797"/>
            </a:xfrm>
            <a:custGeom>
              <a:avLst/>
              <a:gdLst>
                <a:gd name="T0" fmla="*/ 98 w 149"/>
                <a:gd name="T1" fmla="*/ 84 h 121"/>
                <a:gd name="T2" fmla="*/ 149 w 149"/>
                <a:gd name="T3" fmla="*/ 34 h 121"/>
                <a:gd name="T4" fmla="*/ 112 w 149"/>
                <a:gd name="T5" fmla="*/ 0 h 121"/>
                <a:gd name="T6" fmla="*/ 39 w 149"/>
                <a:gd name="T7" fmla="*/ 78 h 121"/>
                <a:gd name="T8" fmla="*/ 0 w 149"/>
                <a:gd name="T9" fmla="*/ 113 h 121"/>
                <a:gd name="T10" fmla="*/ 29 w 149"/>
                <a:gd name="T11" fmla="*/ 121 h 121"/>
                <a:gd name="T12" fmla="*/ 99 w 149"/>
                <a:gd name="T13" fmla="*/ 99 h 121"/>
                <a:gd name="T14" fmla="*/ 64 w 149"/>
                <a:gd name="T15" fmla="*/ 67 h 121"/>
                <a:gd name="T16" fmla="*/ 98 w 149"/>
                <a:gd name="T17" fmla="*/ 8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121">
                  <a:moveTo>
                    <a:pt x="98" y="84"/>
                  </a:moveTo>
                  <a:cubicBezTo>
                    <a:pt x="127" y="84"/>
                    <a:pt x="149" y="61"/>
                    <a:pt x="149" y="34"/>
                  </a:cubicBezTo>
                  <a:cubicBezTo>
                    <a:pt x="147" y="22"/>
                    <a:pt x="143" y="0"/>
                    <a:pt x="112" y="0"/>
                  </a:cubicBezTo>
                  <a:cubicBezTo>
                    <a:pt x="78" y="0"/>
                    <a:pt x="67" y="47"/>
                    <a:pt x="39" y="78"/>
                  </a:cubicBezTo>
                  <a:cubicBezTo>
                    <a:pt x="37" y="95"/>
                    <a:pt x="20" y="111"/>
                    <a:pt x="0" y="113"/>
                  </a:cubicBezTo>
                  <a:cubicBezTo>
                    <a:pt x="5" y="118"/>
                    <a:pt x="16" y="121"/>
                    <a:pt x="29" y="121"/>
                  </a:cubicBezTo>
                  <a:cubicBezTo>
                    <a:pt x="54" y="121"/>
                    <a:pt x="83" y="114"/>
                    <a:pt x="99" y="99"/>
                  </a:cubicBezTo>
                  <a:cubicBezTo>
                    <a:pt x="78" y="99"/>
                    <a:pt x="65" y="86"/>
                    <a:pt x="64" y="67"/>
                  </a:cubicBezTo>
                  <a:cubicBezTo>
                    <a:pt x="74" y="79"/>
                    <a:pt x="85" y="84"/>
                    <a:pt x="98" y="84"/>
                  </a:cubicBezTo>
                </a:path>
              </a:pathLst>
            </a:custGeom>
            <a:solidFill>
              <a:srgbClr val="00B9E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53936070-5445-4D5B-B6F0-A72D3CC87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4057" y="1641201"/>
              <a:ext cx="1018971" cy="860913"/>
            </a:xfrm>
            <a:custGeom>
              <a:avLst/>
              <a:gdLst>
                <a:gd name="T0" fmla="*/ 227 w 227"/>
                <a:gd name="T1" fmla="*/ 120 h 192"/>
                <a:gd name="T2" fmla="*/ 188 w 227"/>
                <a:gd name="T3" fmla="*/ 40 h 192"/>
                <a:gd name="T4" fmla="*/ 127 w 227"/>
                <a:gd name="T5" fmla="*/ 2 h 192"/>
                <a:gd name="T6" fmla="*/ 122 w 227"/>
                <a:gd name="T7" fmla="*/ 0 h 192"/>
                <a:gd name="T8" fmla="*/ 121 w 227"/>
                <a:gd name="T9" fmla="*/ 0 h 192"/>
                <a:gd name="T10" fmla="*/ 0 w 227"/>
                <a:gd name="T11" fmla="*/ 125 h 192"/>
                <a:gd name="T12" fmla="*/ 42 w 227"/>
                <a:gd name="T13" fmla="*/ 187 h 192"/>
                <a:gd name="T14" fmla="*/ 85 w 227"/>
                <a:gd name="T15" fmla="*/ 187 h 192"/>
                <a:gd name="T16" fmla="*/ 117 w 227"/>
                <a:gd name="T17" fmla="*/ 166 h 192"/>
                <a:gd name="T18" fmla="*/ 190 w 227"/>
                <a:gd name="T19" fmla="*/ 88 h 192"/>
                <a:gd name="T20" fmla="*/ 227 w 227"/>
                <a:gd name="T21" fmla="*/ 122 h 192"/>
                <a:gd name="T22" fmla="*/ 227 w 227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7" h="192">
                  <a:moveTo>
                    <a:pt x="227" y="120"/>
                  </a:moveTo>
                  <a:cubicBezTo>
                    <a:pt x="226" y="88"/>
                    <a:pt x="211" y="61"/>
                    <a:pt x="188" y="40"/>
                  </a:cubicBezTo>
                  <a:cubicBezTo>
                    <a:pt x="170" y="23"/>
                    <a:pt x="149" y="11"/>
                    <a:pt x="127" y="2"/>
                  </a:cubicBezTo>
                  <a:cubicBezTo>
                    <a:pt x="125" y="1"/>
                    <a:pt x="123" y="0"/>
                    <a:pt x="122" y="0"/>
                  </a:cubicBezTo>
                  <a:cubicBezTo>
                    <a:pt x="122" y="0"/>
                    <a:pt x="122" y="0"/>
                    <a:pt x="121" y="0"/>
                  </a:cubicBezTo>
                  <a:cubicBezTo>
                    <a:pt x="94" y="32"/>
                    <a:pt x="0" y="57"/>
                    <a:pt x="0" y="125"/>
                  </a:cubicBezTo>
                  <a:cubicBezTo>
                    <a:pt x="0" y="152"/>
                    <a:pt x="17" y="176"/>
                    <a:pt x="42" y="187"/>
                  </a:cubicBezTo>
                  <a:cubicBezTo>
                    <a:pt x="56" y="192"/>
                    <a:pt x="70" y="192"/>
                    <a:pt x="85" y="187"/>
                  </a:cubicBezTo>
                  <a:cubicBezTo>
                    <a:pt x="98" y="183"/>
                    <a:pt x="108" y="175"/>
                    <a:pt x="117" y="166"/>
                  </a:cubicBezTo>
                  <a:cubicBezTo>
                    <a:pt x="145" y="135"/>
                    <a:pt x="156" y="88"/>
                    <a:pt x="190" y="88"/>
                  </a:cubicBezTo>
                  <a:cubicBezTo>
                    <a:pt x="221" y="88"/>
                    <a:pt x="225" y="110"/>
                    <a:pt x="227" y="122"/>
                  </a:cubicBezTo>
                  <a:cubicBezTo>
                    <a:pt x="227" y="122"/>
                    <a:pt x="227" y="121"/>
                    <a:pt x="227" y="120"/>
                  </a:cubicBezTo>
                </a:path>
              </a:pathLst>
            </a:custGeom>
            <a:solidFill>
              <a:srgbClr val="007DB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/>
              <a:t>24-Jan-2018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M Auto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D205EFF-948D-4AF6-B54C-65639188FB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87921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17B390E6-46A0-4BED-B3E2-3051836E07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07267" y="2606029"/>
            <a:ext cx="7377467" cy="1645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71755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Filled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443981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3068960"/>
            <a:ext cx="4031828" cy="337538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000"/>
              </a:lnSpc>
              <a:spcAft>
                <a:spcPts val="1800"/>
              </a:spcAft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long text</a:t>
            </a:r>
            <a:endParaRPr lang="pt-PT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7798370-07F4-412F-86CE-30C026EA6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9" y="2002973"/>
            <a:ext cx="4031828" cy="859536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pt-PT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insert title</a:t>
            </a:r>
            <a:endParaRPr lang="pt-PT" dirty="0"/>
          </a:p>
        </p:txBody>
      </p:sp>
      <p:cxnSp>
        <p:nvCxnSpPr>
          <p:cNvPr id="14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68760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85000"/>
              </a:lnSpc>
            </a:pPr>
            <a:r>
              <a:rPr lang="en-US"/>
              <a:t>24-Jan-2018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M Automation Awareness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D205EFF-948D-4AF6-B54C-65639188FB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4440238" y="0"/>
            <a:ext cx="7751762" cy="6858000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8855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5">
          <p15:clr>
            <a:srgbClr val="FBAE40"/>
          </p15:clr>
        </p15:guide>
        <p15:guide id="2" pos="257">
          <p15:clr>
            <a:srgbClr val="FBAE40"/>
          </p15:clr>
        </p15:guide>
        <p15:guide id="3" pos="687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Opener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39796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5"/>
          <p:cNvSpPr>
            <a:spLocks/>
          </p:cNvSpPr>
          <p:nvPr userDrawn="1"/>
        </p:nvSpPr>
        <p:spPr bwMode="auto">
          <a:xfrm flipH="1">
            <a:off x="1055300" y="0"/>
            <a:ext cx="11136700" cy="6858000"/>
          </a:xfrm>
          <a:custGeom>
            <a:avLst/>
            <a:gdLst>
              <a:gd name="T0" fmla="*/ 810 w 2953"/>
              <a:gd name="T1" fmla="*/ 2160 h 2160"/>
              <a:gd name="T2" fmla="*/ 0 w 2953"/>
              <a:gd name="T3" fmla="*/ 2160 h 2160"/>
              <a:gd name="T4" fmla="*/ 0 w 2953"/>
              <a:gd name="T5" fmla="*/ 0 h 2160"/>
              <a:gd name="T6" fmla="*/ 2953 w 2953"/>
              <a:gd name="T7" fmla="*/ 0 h 2160"/>
              <a:gd name="T8" fmla="*/ 2951 w 2953"/>
              <a:gd name="T9" fmla="*/ 9 h 2160"/>
              <a:gd name="T10" fmla="*/ 2912 w 2953"/>
              <a:gd name="T11" fmla="*/ 104 h 2160"/>
              <a:gd name="T12" fmla="*/ 2689 w 2953"/>
              <a:gd name="T13" fmla="*/ 359 h 2160"/>
              <a:gd name="T14" fmla="*/ 2421 w 2953"/>
              <a:gd name="T15" fmla="*/ 509 h 2160"/>
              <a:gd name="T16" fmla="*/ 1974 w 2953"/>
              <a:gd name="T17" fmla="*/ 701 h 2160"/>
              <a:gd name="T18" fmla="*/ 1632 w 2953"/>
              <a:gd name="T19" fmla="*/ 876 h 2160"/>
              <a:gd name="T20" fmla="*/ 1411 w 2953"/>
              <a:gd name="T21" fmla="*/ 1047 h 2160"/>
              <a:gd name="T22" fmla="*/ 1306 w 2953"/>
              <a:gd name="T23" fmla="*/ 1219 h 2160"/>
              <a:gd name="T24" fmla="*/ 1303 w 2953"/>
              <a:gd name="T25" fmla="*/ 1459 h 2160"/>
              <a:gd name="T26" fmla="*/ 1396 w 2953"/>
              <a:gd name="T27" fmla="*/ 1682 h 2160"/>
              <a:gd name="T28" fmla="*/ 1403 w 2953"/>
              <a:gd name="T29" fmla="*/ 1695 h 2160"/>
              <a:gd name="T30" fmla="*/ 1398 w 2953"/>
              <a:gd name="T31" fmla="*/ 1700 h 2160"/>
              <a:gd name="T32" fmla="*/ 882 w 2953"/>
              <a:gd name="T33" fmla="*/ 2110 h 2160"/>
              <a:gd name="T34" fmla="*/ 810 w 2953"/>
              <a:gd name="T35" fmla="*/ 2160 h 2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953" h="2160">
                <a:moveTo>
                  <a:pt x="810" y="2160"/>
                </a:moveTo>
                <a:cubicBezTo>
                  <a:pt x="540" y="2160"/>
                  <a:pt x="270" y="2160"/>
                  <a:pt x="0" y="2160"/>
                </a:cubicBezTo>
                <a:cubicBezTo>
                  <a:pt x="0" y="1440"/>
                  <a:pt x="0" y="720"/>
                  <a:pt x="0" y="0"/>
                </a:cubicBezTo>
                <a:cubicBezTo>
                  <a:pt x="984" y="0"/>
                  <a:pt x="1969" y="0"/>
                  <a:pt x="2953" y="0"/>
                </a:cubicBezTo>
                <a:cubicBezTo>
                  <a:pt x="2952" y="3"/>
                  <a:pt x="2952" y="6"/>
                  <a:pt x="2951" y="9"/>
                </a:cubicBezTo>
                <a:cubicBezTo>
                  <a:pt x="2938" y="41"/>
                  <a:pt x="2927" y="73"/>
                  <a:pt x="2912" y="104"/>
                </a:cubicBezTo>
                <a:cubicBezTo>
                  <a:pt x="2859" y="208"/>
                  <a:pt x="2782" y="290"/>
                  <a:pt x="2689" y="359"/>
                </a:cubicBezTo>
                <a:cubicBezTo>
                  <a:pt x="2607" y="421"/>
                  <a:pt x="2516" y="468"/>
                  <a:pt x="2421" y="509"/>
                </a:cubicBezTo>
                <a:cubicBezTo>
                  <a:pt x="2272" y="572"/>
                  <a:pt x="2123" y="636"/>
                  <a:pt x="1974" y="701"/>
                </a:cubicBezTo>
                <a:cubicBezTo>
                  <a:pt x="1857" y="753"/>
                  <a:pt x="1742" y="809"/>
                  <a:pt x="1632" y="876"/>
                </a:cubicBezTo>
                <a:cubicBezTo>
                  <a:pt x="1551" y="924"/>
                  <a:pt x="1475" y="978"/>
                  <a:pt x="1411" y="1047"/>
                </a:cubicBezTo>
                <a:cubicBezTo>
                  <a:pt x="1364" y="1097"/>
                  <a:pt x="1327" y="1153"/>
                  <a:pt x="1306" y="1219"/>
                </a:cubicBezTo>
                <a:cubicBezTo>
                  <a:pt x="1280" y="1299"/>
                  <a:pt x="1283" y="1379"/>
                  <a:pt x="1303" y="1459"/>
                </a:cubicBezTo>
                <a:cubicBezTo>
                  <a:pt x="1323" y="1538"/>
                  <a:pt x="1357" y="1612"/>
                  <a:pt x="1396" y="1682"/>
                </a:cubicBezTo>
                <a:cubicBezTo>
                  <a:pt x="1399" y="1687"/>
                  <a:pt x="1401" y="1691"/>
                  <a:pt x="1403" y="1695"/>
                </a:cubicBezTo>
                <a:cubicBezTo>
                  <a:pt x="1401" y="1697"/>
                  <a:pt x="1399" y="1698"/>
                  <a:pt x="1398" y="1700"/>
                </a:cubicBezTo>
                <a:cubicBezTo>
                  <a:pt x="1232" y="1845"/>
                  <a:pt x="1061" y="1983"/>
                  <a:pt x="882" y="2110"/>
                </a:cubicBezTo>
                <a:cubicBezTo>
                  <a:pt x="858" y="2127"/>
                  <a:pt x="834" y="2143"/>
                  <a:pt x="810" y="2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2826" y="1844824"/>
            <a:ext cx="5261187" cy="1182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3000"/>
              </a:lnSpc>
              <a:buNone/>
              <a:defRPr sz="2600">
                <a:solidFill>
                  <a:schemeClr val="accent2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pic>
        <p:nvPicPr>
          <p:cNvPr id="5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7988" y="6101472"/>
            <a:ext cx="22860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3306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8" y="404813"/>
            <a:ext cx="2286000" cy="510013"/>
          </a:xfrm>
          <a:prstGeom prst="rect">
            <a:avLst/>
          </a:prstGeom>
        </p:spPr>
      </p:pic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7D1DC75A-C7A4-44A4-B19C-D445335545B0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07988" y="2276872"/>
            <a:ext cx="5399980" cy="869950"/>
          </a:xfrm>
        </p:spPr>
        <p:txBody>
          <a:bodyPr lIns="0" tIns="0" rIns="0" bIns="0" anchor="b">
            <a:normAutofit/>
          </a:bodyPr>
          <a:lstStyle>
            <a:lvl1pPr>
              <a:lnSpc>
                <a:spcPts val="3000"/>
              </a:lnSpc>
              <a:defRPr sz="26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63879A0-0979-491A-8758-371BB7AD935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07988" y="3261834"/>
            <a:ext cx="5399980" cy="1196340"/>
          </a:xfrm>
        </p:spPr>
        <p:txBody>
          <a:bodyPr lIns="0" tIns="0" rIns="0" bIns="0">
            <a:normAutofit/>
          </a:bodyPr>
          <a:lstStyle>
            <a:lvl1pPr>
              <a:lnSpc>
                <a:spcPts val="1800"/>
              </a:lnSpc>
              <a:defRPr lang="pt-PT" sz="1600" kern="1200" dirty="0">
                <a:solidFill>
                  <a:srgbClr val="0070AD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bg1"/>
                </a:solidFill>
              </a:defRPr>
            </a:lvl2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/>
              <a:t>Click to insert presenter, location, and date</a:t>
            </a:r>
            <a:endParaRPr lang="pt-PT" dirty="0"/>
          </a:p>
        </p:txBody>
      </p:sp>
      <p:sp>
        <p:nvSpPr>
          <p:cNvPr id="4" name="Freeform 11"/>
          <p:cNvSpPr>
            <a:spLocks/>
          </p:cNvSpPr>
          <p:nvPr userDrawn="1"/>
        </p:nvSpPr>
        <p:spPr bwMode="auto">
          <a:xfrm rot="16200000" flipH="1">
            <a:off x="6370124" y="13910"/>
            <a:ext cx="6353908" cy="6326091"/>
          </a:xfrm>
          <a:custGeom>
            <a:avLst/>
            <a:gdLst>
              <a:gd name="T0" fmla="*/ 909 w 1432"/>
              <a:gd name="T1" fmla="*/ 1425 h 1425"/>
              <a:gd name="T2" fmla="*/ 934 w 1432"/>
              <a:gd name="T3" fmla="*/ 0 h 1425"/>
              <a:gd name="T4" fmla="*/ 0 w 1432"/>
              <a:gd name="T5" fmla="*/ 231 h 1425"/>
              <a:gd name="T6" fmla="*/ 0 w 1432"/>
              <a:gd name="T7" fmla="*/ 1425 h 1425"/>
              <a:gd name="T8" fmla="*/ 909 w 1432"/>
              <a:gd name="T9" fmla="*/ 1425 h 1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32" h="1425">
                <a:moveTo>
                  <a:pt x="909" y="1425"/>
                </a:moveTo>
                <a:cubicBezTo>
                  <a:pt x="1358" y="720"/>
                  <a:pt x="1432" y="301"/>
                  <a:pt x="934" y="0"/>
                </a:cubicBezTo>
                <a:cubicBezTo>
                  <a:pt x="392" y="295"/>
                  <a:pt x="129" y="297"/>
                  <a:pt x="0" y="231"/>
                </a:cubicBezTo>
                <a:cubicBezTo>
                  <a:pt x="0" y="1425"/>
                  <a:pt x="0" y="1425"/>
                  <a:pt x="0" y="1425"/>
                </a:cubicBezTo>
                <a:lnTo>
                  <a:pt x="909" y="14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6411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Opener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76273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5"/>
          <p:cNvSpPr>
            <a:spLocks/>
          </p:cNvSpPr>
          <p:nvPr userDrawn="1"/>
        </p:nvSpPr>
        <p:spPr bwMode="auto">
          <a:xfrm>
            <a:off x="4922327" y="838199"/>
            <a:ext cx="7287274" cy="6019801"/>
          </a:xfrm>
          <a:custGeom>
            <a:avLst/>
            <a:gdLst>
              <a:gd name="T0" fmla="*/ 0 w 2297"/>
              <a:gd name="T1" fmla="*/ 973 h 1897"/>
              <a:gd name="T2" fmla="*/ 0 w 2297"/>
              <a:gd name="T3" fmla="*/ 950 h 1897"/>
              <a:gd name="T4" fmla="*/ 55 w 2297"/>
              <a:gd name="T5" fmla="*/ 928 h 1897"/>
              <a:gd name="T6" fmla="*/ 275 w 2297"/>
              <a:gd name="T7" fmla="*/ 795 h 1897"/>
              <a:gd name="T8" fmla="*/ 597 w 2297"/>
              <a:gd name="T9" fmla="*/ 546 h 1897"/>
              <a:gd name="T10" fmla="*/ 998 w 2297"/>
              <a:gd name="T11" fmla="*/ 250 h 1897"/>
              <a:gd name="T12" fmla="*/ 1311 w 2297"/>
              <a:gd name="T13" fmla="*/ 85 h 1897"/>
              <a:gd name="T14" fmla="*/ 1607 w 2297"/>
              <a:gd name="T15" fmla="*/ 6 h 1897"/>
              <a:gd name="T16" fmla="*/ 1667 w 2297"/>
              <a:gd name="T17" fmla="*/ 0 h 1897"/>
              <a:gd name="T18" fmla="*/ 1772 w 2297"/>
              <a:gd name="T19" fmla="*/ 0 h 1897"/>
              <a:gd name="T20" fmla="*/ 1851 w 2297"/>
              <a:gd name="T21" fmla="*/ 9 h 1897"/>
              <a:gd name="T22" fmla="*/ 2297 w 2297"/>
              <a:gd name="T23" fmla="*/ 211 h 1897"/>
              <a:gd name="T24" fmla="*/ 2297 w 2297"/>
              <a:gd name="T25" fmla="*/ 1394 h 1897"/>
              <a:gd name="T26" fmla="*/ 2105 w 2297"/>
              <a:gd name="T27" fmla="*/ 1520 h 1897"/>
              <a:gd name="T28" fmla="*/ 1803 w 2297"/>
              <a:gd name="T29" fmla="*/ 1632 h 1897"/>
              <a:gd name="T30" fmla="*/ 1424 w 2297"/>
              <a:gd name="T31" fmla="*/ 1719 h 1897"/>
              <a:gd name="T32" fmla="*/ 1119 w 2297"/>
              <a:gd name="T33" fmla="*/ 1799 h 1897"/>
              <a:gd name="T34" fmla="*/ 939 w 2297"/>
              <a:gd name="T35" fmla="*/ 1886 h 1897"/>
              <a:gd name="T36" fmla="*/ 910 w 2297"/>
              <a:gd name="T37" fmla="*/ 1897 h 1897"/>
              <a:gd name="T38" fmla="*/ 228 w 2297"/>
              <a:gd name="T39" fmla="*/ 1897 h 1897"/>
              <a:gd name="T40" fmla="*/ 206 w 2297"/>
              <a:gd name="T41" fmla="*/ 1883 h 1897"/>
              <a:gd name="T42" fmla="*/ 84 w 2297"/>
              <a:gd name="T43" fmla="*/ 1533 h 1897"/>
              <a:gd name="T44" fmla="*/ 3 w 2297"/>
              <a:gd name="T45" fmla="*/ 1016 h 1897"/>
              <a:gd name="T46" fmla="*/ 0 w 2297"/>
              <a:gd name="T47" fmla="*/ 973 h 18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297" h="1897">
                <a:moveTo>
                  <a:pt x="0" y="973"/>
                </a:moveTo>
                <a:cubicBezTo>
                  <a:pt x="0" y="965"/>
                  <a:pt x="0" y="958"/>
                  <a:pt x="0" y="950"/>
                </a:cubicBezTo>
                <a:cubicBezTo>
                  <a:pt x="19" y="945"/>
                  <a:pt x="37" y="936"/>
                  <a:pt x="55" y="928"/>
                </a:cubicBezTo>
                <a:cubicBezTo>
                  <a:pt x="133" y="892"/>
                  <a:pt x="205" y="845"/>
                  <a:pt x="275" y="795"/>
                </a:cubicBezTo>
                <a:cubicBezTo>
                  <a:pt x="386" y="717"/>
                  <a:pt x="490" y="630"/>
                  <a:pt x="597" y="546"/>
                </a:cubicBezTo>
                <a:cubicBezTo>
                  <a:pt x="727" y="443"/>
                  <a:pt x="858" y="341"/>
                  <a:pt x="998" y="250"/>
                </a:cubicBezTo>
                <a:cubicBezTo>
                  <a:pt x="1098" y="187"/>
                  <a:pt x="1201" y="129"/>
                  <a:pt x="1311" y="85"/>
                </a:cubicBezTo>
                <a:cubicBezTo>
                  <a:pt x="1406" y="46"/>
                  <a:pt x="1504" y="18"/>
                  <a:pt x="1607" y="6"/>
                </a:cubicBezTo>
                <a:cubicBezTo>
                  <a:pt x="1627" y="4"/>
                  <a:pt x="1647" y="2"/>
                  <a:pt x="1667" y="0"/>
                </a:cubicBezTo>
                <a:cubicBezTo>
                  <a:pt x="1702" y="0"/>
                  <a:pt x="1737" y="0"/>
                  <a:pt x="1772" y="0"/>
                </a:cubicBezTo>
                <a:cubicBezTo>
                  <a:pt x="1799" y="3"/>
                  <a:pt x="1825" y="5"/>
                  <a:pt x="1851" y="9"/>
                </a:cubicBezTo>
                <a:cubicBezTo>
                  <a:pt x="2018" y="35"/>
                  <a:pt x="2168" y="99"/>
                  <a:pt x="2297" y="211"/>
                </a:cubicBezTo>
                <a:cubicBezTo>
                  <a:pt x="2297" y="605"/>
                  <a:pt x="2297" y="999"/>
                  <a:pt x="2297" y="1394"/>
                </a:cubicBezTo>
                <a:cubicBezTo>
                  <a:pt x="2238" y="1444"/>
                  <a:pt x="2173" y="1485"/>
                  <a:pt x="2105" y="1520"/>
                </a:cubicBezTo>
                <a:cubicBezTo>
                  <a:pt x="2008" y="1569"/>
                  <a:pt x="1907" y="1604"/>
                  <a:pt x="1803" y="1632"/>
                </a:cubicBezTo>
                <a:cubicBezTo>
                  <a:pt x="1678" y="1667"/>
                  <a:pt x="1551" y="1691"/>
                  <a:pt x="1424" y="1719"/>
                </a:cubicBezTo>
                <a:cubicBezTo>
                  <a:pt x="1321" y="1741"/>
                  <a:pt x="1218" y="1764"/>
                  <a:pt x="1119" y="1799"/>
                </a:cubicBezTo>
                <a:cubicBezTo>
                  <a:pt x="1056" y="1821"/>
                  <a:pt x="995" y="1849"/>
                  <a:pt x="939" y="1886"/>
                </a:cubicBezTo>
                <a:cubicBezTo>
                  <a:pt x="930" y="1892"/>
                  <a:pt x="922" y="1897"/>
                  <a:pt x="910" y="1897"/>
                </a:cubicBezTo>
                <a:cubicBezTo>
                  <a:pt x="683" y="1897"/>
                  <a:pt x="455" y="1897"/>
                  <a:pt x="228" y="1897"/>
                </a:cubicBezTo>
                <a:cubicBezTo>
                  <a:pt x="216" y="1897"/>
                  <a:pt x="211" y="1893"/>
                  <a:pt x="206" y="1883"/>
                </a:cubicBezTo>
                <a:cubicBezTo>
                  <a:pt x="155" y="1770"/>
                  <a:pt x="115" y="1653"/>
                  <a:pt x="84" y="1533"/>
                </a:cubicBezTo>
                <a:cubicBezTo>
                  <a:pt x="40" y="1363"/>
                  <a:pt x="15" y="1191"/>
                  <a:pt x="3" y="1016"/>
                </a:cubicBezTo>
                <a:cubicBezTo>
                  <a:pt x="2" y="1002"/>
                  <a:pt x="3" y="987"/>
                  <a:pt x="0" y="973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32104" y="2946391"/>
            <a:ext cx="4751909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3000"/>
              </a:lnSpc>
              <a:buNone/>
              <a:defRPr sz="2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744541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Opene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1895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5"/>
          <p:cNvSpPr>
            <a:spLocks/>
          </p:cNvSpPr>
          <p:nvPr userDrawn="1"/>
        </p:nvSpPr>
        <p:spPr bwMode="auto">
          <a:xfrm>
            <a:off x="4922327" y="838199"/>
            <a:ext cx="7287274" cy="6019801"/>
          </a:xfrm>
          <a:custGeom>
            <a:avLst/>
            <a:gdLst>
              <a:gd name="T0" fmla="*/ 0 w 2297"/>
              <a:gd name="T1" fmla="*/ 973 h 1897"/>
              <a:gd name="T2" fmla="*/ 0 w 2297"/>
              <a:gd name="T3" fmla="*/ 950 h 1897"/>
              <a:gd name="T4" fmla="*/ 55 w 2297"/>
              <a:gd name="T5" fmla="*/ 928 h 1897"/>
              <a:gd name="T6" fmla="*/ 275 w 2297"/>
              <a:gd name="T7" fmla="*/ 795 h 1897"/>
              <a:gd name="T8" fmla="*/ 597 w 2297"/>
              <a:gd name="T9" fmla="*/ 546 h 1897"/>
              <a:gd name="T10" fmla="*/ 998 w 2297"/>
              <a:gd name="T11" fmla="*/ 250 h 1897"/>
              <a:gd name="T12" fmla="*/ 1311 w 2297"/>
              <a:gd name="T13" fmla="*/ 85 h 1897"/>
              <a:gd name="T14" fmla="*/ 1607 w 2297"/>
              <a:gd name="T15" fmla="*/ 6 h 1897"/>
              <a:gd name="T16" fmla="*/ 1667 w 2297"/>
              <a:gd name="T17" fmla="*/ 0 h 1897"/>
              <a:gd name="T18" fmla="*/ 1772 w 2297"/>
              <a:gd name="T19" fmla="*/ 0 h 1897"/>
              <a:gd name="T20" fmla="*/ 1851 w 2297"/>
              <a:gd name="T21" fmla="*/ 9 h 1897"/>
              <a:gd name="T22" fmla="*/ 2297 w 2297"/>
              <a:gd name="T23" fmla="*/ 211 h 1897"/>
              <a:gd name="T24" fmla="*/ 2297 w 2297"/>
              <a:gd name="T25" fmla="*/ 1394 h 1897"/>
              <a:gd name="T26" fmla="*/ 2105 w 2297"/>
              <a:gd name="T27" fmla="*/ 1520 h 1897"/>
              <a:gd name="T28" fmla="*/ 1803 w 2297"/>
              <a:gd name="T29" fmla="*/ 1632 h 1897"/>
              <a:gd name="T30" fmla="*/ 1424 w 2297"/>
              <a:gd name="T31" fmla="*/ 1719 h 1897"/>
              <a:gd name="T32" fmla="*/ 1119 w 2297"/>
              <a:gd name="T33" fmla="*/ 1799 h 1897"/>
              <a:gd name="T34" fmla="*/ 939 w 2297"/>
              <a:gd name="T35" fmla="*/ 1886 h 1897"/>
              <a:gd name="T36" fmla="*/ 910 w 2297"/>
              <a:gd name="T37" fmla="*/ 1897 h 1897"/>
              <a:gd name="T38" fmla="*/ 228 w 2297"/>
              <a:gd name="T39" fmla="*/ 1897 h 1897"/>
              <a:gd name="T40" fmla="*/ 206 w 2297"/>
              <a:gd name="T41" fmla="*/ 1883 h 1897"/>
              <a:gd name="T42" fmla="*/ 84 w 2297"/>
              <a:gd name="T43" fmla="*/ 1533 h 1897"/>
              <a:gd name="T44" fmla="*/ 3 w 2297"/>
              <a:gd name="T45" fmla="*/ 1016 h 1897"/>
              <a:gd name="T46" fmla="*/ 0 w 2297"/>
              <a:gd name="T47" fmla="*/ 973 h 18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297" h="1897">
                <a:moveTo>
                  <a:pt x="0" y="973"/>
                </a:moveTo>
                <a:cubicBezTo>
                  <a:pt x="0" y="965"/>
                  <a:pt x="0" y="958"/>
                  <a:pt x="0" y="950"/>
                </a:cubicBezTo>
                <a:cubicBezTo>
                  <a:pt x="19" y="945"/>
                  <a:pt x="37" y="936"/>
                  <a:pt x="55" y="928"/>
                </a:cubicBezTo>
                <a:cubicBezTo>
                  <a:pt x="133" y="892"/>
                  <a:pt x="205" y="845"/>
                  <a:pt x="275" y="795"/>
                </a:cubicBezTo>
                <a:cubicBezTo>
                  <a:pt x="386" y="717"/>
                  <a:pt x="490" y="630"/>
                  <a:pt x="597" y="546"/>
                </a:cubicBezTo>
                <a:cubicBezTo>
                  <a:pt x="727" y="443"/>
                  <a:pt x="858" y="341"/>
                  <a:pt x="998" y="250"/>
                </a:cubicBezTo>
                <a:cubicBezTo>
                  <a:pt x="1098" y="187"/>
                  <a:pt x="1201" y="129"/>
                  <a:pt x="1311" y="85"/>
                </a:cubicBezTo>
                <a:cubicBezTo>
                  <a:pt x="1406" y="46"/>
                  <a:pt x="1504" y="18"/>
                  <a:pt x="1607" y="6"/>
                </a:cubicBezTo>
                <a:cubicBezTo>
                  <a:pt x="1627" y="4"/>
                  <a:pt x="1647" y="2"/>
                  <a:pt x="1667" y="0"/>
                </a:cubicBezTo>
                <a:cubicBezTo>
                  <a:pt x="1702" y="0"/>
                  <a:pt x="1737" y="0"/>
                  <a:pt x="1772" y="0"/>
                </a:cubicBezTo>
                <a:cubicBezTo>
                  <a:pt x="1799" y="3"/>
                  <a:pt x="1825" y="5"/>
                  <a:pt x="1851" y="9"/>
                </a:cubicBezTo>
                <a:cubicBezTo>
                  <a:pt x="2018" y="35"/>
                  <a:pt x="2168" y="99"/>
                  <a:pt x="2297" y="211"/>
                </a:cubicBezTo>
                <a:cubicBezTo>
                  <a:pt x="2297" y="605"/>
                  <a:pt x="2297" y="999"/>
                  <a:pt x="2297" y="1394"/>
                </a:cubicBezTo>
                <a:cubicBezTo>
                  <a:pt x="2238" y="1444"/>
                  <a:pt x="2173" y="1485"/>
                  <a:pt x="2105" y="1520"/>
                </a:cubicBezTo>
                <a:cubicBezTo>
                  <a:pt x="2008" y="1569"/>
                  <a:pt x="1907" y="1604"/>
                  <a:pt x="1803" y="1632"/>
                </a:cubicBezTo>
                <a:cubicBezTo>
                  <a:pt x="1678" y="1667"/>
                  <a:pt x="1551" y="1691"/>
                  <a:pt x="1424" y="1719"/>
                </a:cubicBezTo>
                <a:cubicBezTo>
                  <a:pt x="1321" y="1741"/>
                  <a:pt x="1218" y="1764"/>
                  <a:pt x="1119" y="1799"/>
                </a:cubicBezTo>
                <a:cubicBezTo>
                  <a:pt x="1056" y="1821"/>
                  <a:pt x="995" y="1849"/>
                  <a:pt x="939" y="1886"/>
                </a:cubicBezTo>
                <a:cubicBezTo>
                  <a:pt x="930" y="1892"/>
                  <a:pt x="922" y="1897"/>
                  <a:pt x="910" y="1897"/>
                </a:cubicBezTo>
                <a:cubicBezTo>
                  <a:pt x="683" y="1897"/>
                  <a:pt x="455" y="1897"/>
                  <a:pt x="228" y="1897"/>
                </a:cubicBezTo>
                <a:cubicBezTo>
                  <a:pt x="216" y="1897"/>
                  <a:pt x="211" y="1893"/>
                  <a:pt x="206" y="1883"/>
                </a:cubicBezTo>
                <a:cubicBezTo>
                  <a:pt x="155" y="1770"/>
                  <a:pt x="115" y="1653"/>
                  <a:pt x="84" y="1533"/>
                </a:cubicBezTo>
                <a:cubicBezTo>
                  <a:pt x="40" y="1363"/>
                  <a:pt x="15" y="1191"/>
                  <a:pt x="3" y="1016"/>
                </a:cubicBezTo>
                <a:cubicBezTo>
                  <a:pt x="2" y="1002"/>
                  <a:pt x="3" y="987"/>
                  <a:pt x="0" y="973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32104" y="2946391"/>
            <a:ext cx="4751909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3000"/>
              </a:lnSpc>
              <a:buNone/>
              <a:defRPr sz="2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124957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Open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 11"/>
          <p:cNvSpPr>
            <a:spLocks/>
          </p:cNvSpPr>
          <p:nvPr userDrawn="1"/>
        </p:nvSpPr>
        <p:spPr bwMode="auto">
          <a:xfrm>
            <a:off x="-312712" y="0"/>
            <a:ext cx="8002302" cy="6857954"/>
          </a:xfrm>
          <a:custGeom>
            <a:avLst/>
            <a:gdLst>
              <a:gd name="connsiteX0" fmla="*/ 0 w 8002302"/>
              <a:gd name="connsiteY0" fmla="*/ 0 h 6857954"/>
              <a:gd name="connsiteX1" fmla="*/ 7775633 w 8002302"/>
              <a:gd name="connsiteY1" fmla="*/ 0 h 6857954"/>
              <a:gd name="connsiteX2" fmla="*/ 6625074 w 8002302"/>
              <a:gd name="connsiteY2" fmla="*/ 2643891 h 6857954"/>
              <a:gd name="connsiteX3" fmla="*/ 4083144 w 8002302"/>
              <a:gd name="connsiteY3" fmla="*/ 5598199 h 6857954"/>
              <a:gd name="connsiteX4" fmla="*/ 2647158 w 8002302"/>
              <a:gd name="connsiteY4" fmla="*/ 6727350 h 6857954"/>
              <a:gd name="connsiteX5" fmla="*/ 2451916 w 8002302"/>
              <a:gd name="connsiteY5" fmla="*/ 6857954 h 6857954"/>
              <a:gd name="connsiteX6" fmla="*/ 0 w 8002302"/>
              <a:gd name="connsiteY6" fmla="*/ 6857954 h 6857954"/>
              <a:gd name="connsiteX7" fmla="*/ 0 w 8002302"/>
              <a:gd name="connsiteY7" fmla="*/ 6714824 h 6857954"/>
              <a:gd name="connsiteX8" fmla="*/ 0 w 8002302"/>
              <a:gd name="connsiteY8" fmla="*/ 0 h 6857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02302" h="6857954">
                <a:moveTo>
                  <a:pt x="0" y="0"/>
                </a:moveTo>
                <a:lnTo>
                  <a:pt x="7775633" y="0"/>
                </a:lnTo>
                <a:cubicBezTo>
                  <a:pt x="7775633" y="0"/>
                  <a:pt x="8760296" y="1744754"/>
                  <a:pt x="6625074" y="2643891"/>
                </a:cubicBezTo>
                <a:cubicBezTo>
                  <a:pt x="4495204" y="3548381"/>
                  <a:pt x="3178751" y="4040765"/>
                  <a:pt x="4083144" y="5598199"/>
                </a:cubicBezTo>
                <a:cubicBezTo>
                  <a:pt x="3548335" y="6067838"/>
                  <a:pt x="3070531" y="6437189"/>
                  <a:pt x="2647158" y="6727350"/>
                </a:cubicBezTo>
                <a:lnTo>
                  <a:pt x="2451916" y="6857954"/>
                </a:lnTo>
                <a:lnTo>
                  <a:pt x="0" y="6857954"/>
                </a:lnTo>
                <a:lnTo>
                  <a:pt x="0" y="6714824"/>
                </a:ln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43872" y="-1634"/>
            <a:ext cx="7248128" cy="6859588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434513"/>
            <a:ext cx="5471988" cy="169834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ts val="3000"/>
              </a:lnSpc>
              <a:buNone/>
              <a:defRPr sz="2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pic>
        <p:nvPicPr>
          <p:cNvPr id="11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3882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>
            <a:off x="0" y="2698314"/>
            <a:ext cx="5807959" cy="4159686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407988" y="1124680"/>
            <a:ext cx="2375552" cy="2304320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25"/>
          </p:nvPr>
        </p:nvSpPr>
        <p:spPr>
          <a:xfrm>
            <a:off x="911280" y="1412875"/>
            <a:ext cx="1224170" cy="1655763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/>
              <a:t>24-Jan-2018</a:t>
            </a:r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ADM Automation Awareness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DD205EFF-948D-4AF6-B54C-65639188FB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03188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79F1DAD-5BB1-4142-B838-01DB99370135}"/>
              </a:ext>
            </a:extLst>
          </p:cNvPr>
          <p:cNvSpPr/>
          <p:nvPr userDrawn="1"/>
        </p:nvSpPr>
        <p:spPr>
          <a:xfrm>
            <a:off x="0" y="4077072"/>
            <a:ext cx="12192000" cy="27809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4C1CAD0-39C3-4CE2-A9E9-8CA99EFF53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6488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8D6FD04F-776D-4BC2-9828-DC149A95B7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7853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5A2CDF95-9D29-4775-8BEF-90BC5372B78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22171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6012FFDA-311F-429E-998E-F6E6B0A7186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7987" y="4231996"/>
            <a:ext cx="11376025" cy="412363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>
              <a:defRPr lang="en-US" b="0" dirty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488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22171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17853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6487" y="4674187"/>
            <a:ext cx="11357525" cy="179921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27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68760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36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/>
              <a:t>24-Jan-2018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en-US"/>
              <a:t>ADM Automation Awareness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DD205EFF-948D-4AF6-B54C-65639188FB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38573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C1A94F9-DC7A-4538-8277-70A44CA1010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624115" y="190341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9" name="Picture Placeholder 17">
            <a:extLst>
              <a:ext uri="{FF2B5EF4-FFF2-40B4-BE49-F238E27FC236}">
                <a16:creationId xmlns:a16="http://schemas.microsoft.com/office/drawing/2014/main" id="{74E803A8-AB56-45EC-B2C1-515FBB73BB37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6455195" y="190341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20" name="Picture Placeholder 17">
            <a:extLst>
              <a:ext uri="{FF2B5EF4-FFF2-40B4-BE49-F238E27FC236}">
                <a16:creationId xmlns:a16="http://schemas.microsoft.com/office/drawing/2014/main" id="{9D1BE315-6BE9-4C05-9EDD-2BF1E943154E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24115" y="437945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21" name="Picture Placeholder 17">
            <a:extLst>
              <a:ext uri="{FF2B5EF4-FFF2-40B4-BE49-F238E27FC236}">
                <a16:creationId xmlns:a16="http://schemas.microsoft.com/office/drawing/2014/main" id="{1281E9B6-7C84-4FF5-B198-C8FC0C8924EE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455195" y="437945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07568" y="190341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2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040043" y="190341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2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207568" y="437945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2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40043" y="437945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2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6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/>
              <a:t>24-Jan-2018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en-US"/>
              <a:t>ADM Automation Awareness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DD205EFF-948D-4AF6-B54C-65639188FB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02224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8EB8B05-1295-4FBE-8D2F-3BFEB534AE5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638114" y="662159"/>
            <a:ext cx="4883669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3000"/>
              </a:lnSpc>
              <a:defRPr sz="20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9F369BB-997D-4351-8E94-506F593BC82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638114" y="4221110"/>
            <a:ext cx="4883669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3000"/>
              </a:lnSpc>
              <a:defRPr sz="20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DC896E0-16D3-438F-B293-ED80E1183A7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638113" y="4810699"/>
            <a:ext cx="4883670" cy="1717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/>
            </a:lvl1pPr>
            <a:lvl2pPr marL="173038" indent="-168275">
              <a:lnSpc>
                <a:spcPts val="1400"/>
              </a:lnSpc>
              <a:defRPr sz="1200"/>
            </a:lvl2pPr>
            <a:lvl3pPr marL="347663" indent="-174625">
              <a:lnSpc>
                <a:spcPts val="1200"/>
              </a:lnSpc>
              <a:defRPr sz="1100"/>
            </a:lvl3pPr>
            <a:lvl4pPr marL="404813" indent="-115888">
              <a:lnSpc>
                <a:spcPts val="1100"/>
              </a:lnSpc>
              <a:defRPr sz="10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766AF42E-C565-4CFD-A0C6-69ADC5ED724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638113" y="1265729"/>
            <a:ext cx="1981648" cy="105837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400"/>
              </a:lnSpc>
              <a:defRPr sz="12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EEE7B4B-7781-4178-8912-CB53DC7910B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473096" y="1265729"/>
            <a:ext cx="1981648" cy="105837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400"/>
              </a:lnSpc>
              <a:defRPr sz="12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65D71B9F-4F61-41D4-A7CC-FD63E71DC5A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638113" y="2455544"/>
            <a:ext cx="1981648" cy="105837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400"/>
              </a:lnSpc>
              <a:defRPr sz="12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1BD170B4-C089-4F45-8016-02293706DE3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73096" y="2455544"/>
            <a:ext cx="1981648" cy="105837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400"/>
              </a:lnSpc>
              <a:defRPr sz="12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E1D38B64-120F-4B33-BFE3-9536C55688C0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6314264" cy="6858000"/>
          </a:xfrm>
          <a:custGeom>
            <a:avLst/>
            <a:gdLst>
              <a:gd name="connsiteX0" fmla="*/ 0 w 6314264"/>
              <a:gd name="connsiteY0" fmla="*/ 0 h 6850062"/>
              <a:gd name="connsiteX1" fmla="*/ 2371778 w 6314264"/>
              <a:gd name="connsiteY1" fmla="*/ 0 h 6850062"/>
              <a:gd name="connsiteX2" fmla="*/ 5821131 w 6314264"/>
              <a:gd name="connsiteY2" fmla="*/ 4462172 h 6850062"/>
              <a:gd name="connsiteX3" fmla="*/ 5967979 w 6314264"/>
              <a:gd name="connsiteY3" fmla="*/ 6737018 h 6850062"/>
              <a:gd name="connsiteX4" fmla="*/ 5901053 w 6314264"/>
              <a:gd name="connsiteY4" fmla="*/ 6850062 h 6850062"/>
              <a:gd name="connsiteX5" fmla="*/ 0 w 6314264"/>
              <a:gd name="connsiteY5" fmla="*/ 6850062 h 6850062"/>
              <a:gd name="connsiteX6" fmla="*/ 0 w 6314264"/>
              <a:gd name="connsiteY6" fmla="*/ 6791481 h 6850062"/>
              <a:gd name="connsiteX7" fmla="*/ 0 w 6314264"/>
              <a:gd name="connsiteY7" fmla="*/ 0 h 685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14264" h="6850062">
                <a:moveTo>
                  <a:pt x="0" y="0"/>
                </a:moveTo>
                <a:cubicBezTo>
                  <a:pt x="0" y="0"/>
                  <a:pt x="0" y="0"/>
                  <a:pt x="2371778" y="0"/>
                </a:cubicBezTo>
                <a:cubicBezTo>
                  <a:pt x="2402328" y="4520519"/>
                  <a:pt x="6334924" y="5918074"/>
                  <a:pt x="5821131" y="4462172"/>
                </a:cubicBezTo>
                <a:cubicBezTo>
                  <a:pt x="6272436" y="4633046"/>
                  <a:pt x="6588349" y="5598554"/>
                  <a:pt x="5967979" y="6737018"/>
                </a:cubicBezTo>
                <a:lnTo>
                  <a:pt x="5901053" y="6850062"/>
                </a:lnTo>
                <a:lnTo>
                  <a:pt x="0" y="6850062"/>
                </a:lnTo>
                <a:lnTo>
                  <a:pt x="0" y="6791481"/>
                </a:lnTo>
                <a:cubicBezTo>
                  <a:pt x="0" y="5305461"/>
                  <a:pt x="0" y="3143977"/>
                  <a:pt x="0" y="0"/>
                </a:cubicBezTo>
                <a:close/>
              </a:path>
            </a:pathLst>
          </a:custGeom>
          <a:solidFill>
            <a:srgbClr val="2C004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pt-PT"/>
          </a:p>
        </p:txBody>
      </p:sp>
      <p:sp>
        <p:nvSpPr>
          <p:cNvPr id="23" name="Freeform 26">
            <a:extLst>
              <a:ext uri="{FF2B5EF4-FFF2-40B4-BE49-F238E27FC236}">
                <a16:creationId xmlns:a16="http://schemas.microsoft.com/office/drawing/2014/main" id="{B017E329-98D6-4441-B449-FBAD88FAA377}"/>
              </a:ext>
            </a:extLst>
          </p:cNvPr>
          <p:cNvSpPr>
            <a:spLocks/>
          </p:cNvSpPr>
          <p:nvPr userDrawn="1"/>
        </p:nvSpPr>
        <p:spPr bwMode="auto">
          <a:xfrm>
            <a:off x="5688408" y="4703082"/>
            <a:ext cx="414338" cy="339383"/>
          </a:xfrm>
          <a:custGeom>
            <a:avLst/>
            <a:gdLst>
              <a:gd name="T0" fmla="*/ 99 w 149"/>
              <a:gd name="T1" fmla="*/ 85 h 122"/>
              <a:gd name="T2" fmla="*/ 149 w 149"/>
              <a:gd name="T3" fmla="*/ 34 h 122"/>
              <a:gd name="T4" fmla="*/ 112 w 149"/>
              <a:gd name="T5" fmla="*/ 0 h 122"/>
              <a:gd name="T6" fmla="*/ 39 w 149"/>
              <a:gd name="T7" fmla="*/ 78 h 122"/>
              <a:gd name="T8" fmla="*/ 0 w 149"/>
              <a:gd name="T9" fmla="*/ 114 h 122"/>
              <a:gd name="T10" fmla="*/ 29 w 149"/>
              <a:gd name="T11" fmla="*/ 122 h 122"/>
              <a:gd name="T12" fmla="*/ 99 w 149"/>
              <a:gd name="T13" fmla="*/ 99 h 122"/>
              <a:gd name="T14" fmla="*/ 64 w 149"/>
              <a:gd name="T15" fmla="*/ 68 h 122"/>
              <a:gd name="T16" fmla="*/ 99 w 149"/>
              <a:gd name="T17" fmla="*/ 85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49" h="122">
                <a:moveTo>
                  <a:pt x="99" y="85"/>
                </a:moveTo>
                <a:cubicBezTo>
                  <a:pt x="127" y="85"/>
                  <a:pt x="149" y="62"/>
                  <a:pt x="149" y="34"/>
                </a:cubicBezTo>
                <a:cubicBezTo>
                  <a:pt x="147" y="22"/>
                  <a:pt x="143" y="0"/>
                  <a:pt x="112" y="0"/>
                </a:cubicBezTo>
                <a:cubicBezTo>
                  <a:pt x="78" y="0"/>
                  <a:pt x="67" y="48"/>
                  <a:pt x="39" y="78"/>
                </a:cubicBezTo>
                <a:cubicBezTo>
                  <a:pt x="37" y="96"/>
                  <a:pt x="20" y="111"/>
                  <a:pt x="0" y="114"/>
                </a:cubicBezTo>
                <a:cubicBezTo>
                  <a:pt x="5" y="119"/>
                  <a:pt x="16" y="122"/>
                  <a:pt x="29" y="122"/>
                </a:cubicBezTo>
                <a:cubicBezTo>
                  <a:pt x="54" y="122"/>
                  <a:pt x="84" y="115"/>
                  <a:pt x="99" y="99"/>
                </a:cubicBezTo>
                <a:cubicBezTo>
                  <a:pt x="78" y="100"/>
                  <a:pt x="65" y="86"/>
                  <a:pt x="64" y="68"/>
                </a:cubicBezTo>
                <a:cubicBezTo>
                  <a:pt x="74" y="80"/>
                  <a:pt x="85" y="85"/>
                  <a:pt x="99" y="85"/>
                </a:cubicBezTo>
              </a:path>
            </a:pathLst>
          </a:custGeom>
          <a:solidFill>
            <a:srgbClr val="00B9E7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PT" b="1"/>
          </a:p>
        </p:txBody>
      </p:sp>
      <p:sp>
        <p:nvSpPr>
          <p:cNvPr id="24" name="Freeform 27">
            <a:extLst>
              <a:ext uri="{FF2B5EF4-FFF2-40B4-BE49-F238E27FC236}">
                <a16:creationId xmlns:a16="http://schemas.microsoft.com/office/drawing/2014/main" id="{8015E310-A729-4C80-936F-71D663EE6DA7}"/>
              </a:ext>
            </a:extLst>
          </p:cNvPr>
          <p:cNvSpPr>
            <a:spLocks/>
          </p:cNvSpPr>
          <p:nvPr userDrawn="1"/>
        </p:nvSpPr>
        <p:spPr bwMode="auto">
          <a:xfrm>
            <a:off x="5471869" y="4458435"/>
            <a:ext cx="630877" cy="536142"/>
          </a:xfrm>
          <a:custGeom>
            <a:avLst/>
            <a:gdLst>
              <a:gd name="T0" fmla="*/ 227 w 227"/>
              <a:gd name="T1" fmla="*/ 120 h 193"/>
              <a:gd name="T2" fmla="*/ 188 w 227"/>
              <a:gd name="T3" fmla="*/ 40 h 193"/>
              <a:gd name="T4" fmla="*/ 127 w 227"/>
              <a:gd name="T5" fmla="*/ 3 h 193"/>
              <a:gd name="T6" fmla="*/ 122 w 227"/>
              <a:gd name="T7" fmla="*/ 0 h 193"/>
              <a:gd name="T8" fmla="*/ 122 w 227"/>
              <a:gd name="T9" fmla="*/ 0 h 193"/>
              <a:gd name="T10" fmla="*/ 0 w 227"/>
              <a:gd name="T11" fmla="*/ 125 h 193"/>
              <a:gd name="T12" fmla="*/ 42 w 227"/>
              <a:gd name="T13" fmla="*/ 187 h 193"/>
              <a:gd name="T14" fmla="*/ 85 w 227"/>
              <a:gd name="T15" fmla="*/ 188 h 193"/>
              <a:gd name="T16" fmla="*/ 117 w 227"/>
              <a:gd name="T17" fmla="*/ 166 h 193"/>
              <a:gd name="T18" fmla="*/ 190 w 227"/>
              <a:gd name="T19" fmla="*/ 88 h 193"/>
              <a:gd name="T20" fmla="*/ 227 w 227"/>
              <a:gd name="T21" fmla="*/ 122 h 193"/>
              <a:gd name="T22" fmla="*/ 227 w 227"/>
              <a:gd name="T23" fmla="*/ 120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7" h="193">
                <a:moveTo>
                  <a:pt x="227" y="120"/>
                </a:moveTo>
                <a:cubicBezTo>
                  <a:pt x="226" y="89"/>
                  <a:pt x="211" y="62"/>
                  <a:pt x="188" y="40"/>
                </a:cubicBezTo>
                <a:cubicBezTo>
                  <a:pt x="170" y="24"/>
                  <a:pt x="149" y="12"/>
                  <a:pt x="127" y="3"/>
                </a:cubicBezTo>
                <a:cubicBezTo>
                  <a:pt x="125" y="2"/>
                  <a:pt x="123" y="1"/>
                  <a:pt x="122" y="0"/>
                </a:cubicBezTo>
                <a:cubicBezTo>
                  <a:pt x="122" y="0"/>
                  <a:pt x="122" y="0"/>
                  <a:pt x="122" y="0"/>
                </a:cubicBezTo>
                <a:cubicBezTo>
                  <a:pt x="94" y="33"/>
                  <a:pt x="0" y="57"/>
                  <a:pt x="0" y="125"/>
                </a:cubicBezTo>
                <a:cubicBezTo>
                  <a:pt x="0" y="152"/>
                  <a:pt x="17" y="177"/>
                  <a:pt x="42" y="187"/>
                </a:cubicBezTo>
                <a:cubicBezTo>
                  <a:pt x="56" y="193"/>
                  <a:pt x="71" y="193"/>
                  <a:pt x="85" y="188"/>
                </a:cubicBezTo>
                <a:cubicBezTo>
                  <a:pt x="98" y="184"/>
                  <a:pt x="108" y="176"/>
                  <a:pt x="117" y="166"/>
                </a:cubicBezTo>
                <a:cubicBezTo>
                  <a:pt x="145" y="136"/>
                  <a:pt x="156" y="88"/>
                  <a:pt x="190" y="88"/>
                </a:cubicBezTo>
                <a:cubicBezTo>
                  <a:pt x="221" y="88"/>
                  <a:pt x="225" y="110"/>
                  <a:pt x="227" y="122"/>
                </a:cubicBezTo>
                <a:cubicBezTo>
                  <a:pt x="227" y="122"/>
                  <a:pt x="227" y="121"/>
                  <a:pt x="227" y="120"/>
                </a:cubicBezTo>
              </a:path>
            </a:pathLst>
          </a:custGeom>
          <a:solidFill>
            <a:srgbClr val="007DB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PT" b="1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BBB56F29-6918-4BD4-9377-61503A926466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12692" y="4869077"/>
            <a:ext cx="3344087" cy="108882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8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/>
          <p:cNvSpPr>
            <a:spLocks noGrp="1"/>
          </p:cNvSpPr>
          <p:nvPr>
            <p:ph type="dt" sz="half" idx="3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85000"/>
              </a:lnSpc>
            </a:pPr>
            <a:r>
              <a:rPr lang="en-US"/>
              <a:t>24-Jan-2018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ADM Automation Awareness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DD205EFF-948D-4AF6-B54C-65639188FB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3992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hapes - Layout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05436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8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5"/>
          <p:cNvSpPr>
            <a:spLocks/>
          </p:cNvSpPr>
          <p:nvPr userDrawn="1"/>
        </p:nvSpPr>
        <p:spPr bwMode="auto">
          <a:xfrm>
            <a:off x="1" y="1"/>
            <a:ext cx="6728158" cy="6238418"/>
          </a:xfrm>
          <a:custGeom>
            <a:avLst/>
            <a:gdLst>
              <a:gd name="T0" fmla="*/ 1 w 2122"/>
              <a:gd name="T1" fmla="*/ 0 h 1967"/>
              <a:gd name="T2" fmla="*/ 1662 w 2122"/>
              <a:gd name="T3" fmla="*/ 0 h 1967"/>
              <a:gd name="T4" fmla="*/ 1669 w 2122"/>
              <a:gd name="T5" fmla="*/ 9 h 1967"/>
              <a:gd name="T6" fmla="*/ 1815 w 2122"/>
              <a:gd name="T7" fmla="*/ 158 h 1967"/>
              <a:gd name="T8" fmla="*/ 2031 w 2122"/>
              <a:gd name="T9" fmla="*/ 451 h 1967"/>
              <a:gd name="T10" fmla="*/ 2116 w 2122"/>
              <a:gd name="T11" fmla="*/ 718 h 1967"/>
              <a:gd name="T12" fmla="*/ 2073 w 2122"/>
              <a:gd name="T13" fmla="*/ 955 h 1967"/>
              <a:gd name="T14" fmla="*/ 1898 w 2122"/>
              <a:gd name="T15" fmla="*/ 1179 h 1967"/>
              <a:gd name="T16" fmla="*/ 1659 w 2122"/>
              <a:gd name="T17" fmla="*/ 1351 h 1967"/>
              <a:gd name="T18" fmla="*/ 1314 w 2122"/>
              <a:gd name="T19" fmla="*/ 1534 h 1967"/>
              <a:gd name="T20" fmla="*/ 1001 w 2122"/>
              <a:gd name="T21" fmla="*/ 1698 h 1967"/>
              <a:gd name="T22" fmla="*/ 833 w 2122"/>
              <a:gd name="T23" fmla="*/ 1819 h 1967"/>
              <a:gd name="T24" fmla="*/ 761 w 2122"/>
              <a:gd name="T25" fmla="*/ 1934 h 1967"/>
              <a:gd name="T26" fmla="*/ 752 w 2122"/>
              <a:gd name="T27" fmla="*/ 1942 h 1967"/>
              <a:gd name="T28" fmla="*/ 582 w 2122"/>
              <a:gd name="T29" fmla="*/ 1963 h 1967"/>
              <a:gd name="T30" fmla="*/ 409 w 2122"/>
              <a:gd name="T31" fmla="*/ 1910 h 1967"/>
              <a:gd name="T32" fmla="*/ 243 w 2122"/>
              <a:gd name="T33" fmla="*/ 1757 h 1967"/>
              <a:gd name="T34" fmla="*/ 98 w 2122"/>
              <a:gd name="T35" fmla="*/ 1476 h 1967"/>
              <a:gd name="T36" fmla="*/ 13 w 2122"/>
              <a:gd name="T37" fmla="*/ 1161 h 1967"/>
              <a:gd name="T38" fmla="*/ 1 w 2122"/>
              <a:gd name="T39" fmla="*/ 1063 h 1967"/>
              <a:gd name="T40" fmla="*/ 1 w 2122"/>
              <a:gd name="T41" fmla="*/ 16 h 1967"/>
              <a:gd name="T42" fmla="*/ 1 w 2122"/>
              <a:gd name="T43" fmla="*/ 0 h 19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22" h="1967">
                <a:moveTo>
                  <a:pt x="1" y="0"/>
                </a:moveTo>
                <a:cubicBezTo>
                  <a:pt x="555" y="0"/>
                  <a:pt x="1108" y="0"/>
                  <a:pt x="1662" y="0"/>
                </a:cubicBezTo>
                <a:cubicBezTo>
                  <a:pt x="1664" y="3"/>
                  <a:pt x="1666" y="6"/>
                  <a:pt x="1669" y="9"/>
                </a:cubicBezTo>
                <a:cubicBezTo>
                  <a:pt x="1718" y="59"/>
                  <a:pt x="1768" y="107"/>
                  <a:pt x="1815" y="158"/>
                </a:cubicBezTo>
                <a:cubicBezTo>
                  <a:pt x="1898" y="248"/>
                  <a:pt x="1973" y="344"/>
                  <a:pt x="2031" y="451"/>
                </a:cubicBezTo>
                <a:cubicBezTo>
                  <a:pt x="2076" y="535"/>
                  <a:pt x="2108" y="623"/>
                  <a:pt x="2116" y="718"/>
                </a:cubicBezTo>
                <a:cubicBezTo>
                  <a:pt x="2122" y="800"/>
                  <a:pt x="2108" y="880"/>
                  <a:pt x="2073" y="955"/>
                </a:cubicBezTo>
                <a:cubicBezTo>
                  <a:pt x="2032" y="1043"/>
                  <a:pt x="1970" y="1115"/>
                  <a:pt x="1898" y="1179"/>
                </a:cubicBezTo>
                <a:cubicBezTo>
                  <a:pt x="1825" y="1245"/>
                  <a:pt x="1743" y="1300"/>
                  <a:pt x="1659" y="1351"/>
                </a:cubicBezTo>
                <a:cubicBezTo>
                  <a:pt x="1547" y="1418"/>
                  <a:pt x="1431" y="1476"/>
                  <a:pt x="1314" y="1534"/>
                </a:cubicBezTo>
                <a:cubicBezTo>
                  <a:pt x="1209" y="1587"/>
                  <a:pt x="1102" y="1638"/>
                  <a:pt x="1001" y="1698"/>
                </a:cubicBezTo>
                <a:cubicBezTo>
                  <a:pt x="941" y="1733"/>
                  <a:pt x="883" y="1770"/>
                  <a:pt x="833" y="1819"/>
                </a:cubicBezTo>
                <a:cubicBezTo>
                  <a:pt x="800" y="1852"/>
                  <a:pt x="773" y="1888"/>
                  <a:pt x="761" y="1934"/>
                </a:cubicBezTo>
                <a:cubicBezTo>
                  <a:pt x="761" y="1937"/>
                  <a:pt x="755" y="1941"/>
                  <a:pt x="752" y="1942"/>
                </a:cubicBezTo>
                <a:cubicBezTo>
                  <a:pt x="696" y="1958"/>
                  <a:pt x="640" y="1967"/>
                  <a:pt x="582" y="1963"/>
                </a:cubicBezTo>
                <a:cubicBezTo>
                  <a:pt x="520" y="1958"/>
                  <a:pt x="463" y="1941"/>
                  <a:pt x="409" y="1910"/>
                </a:cubicBezTo>
                <a:cubicBezTo>
                  <a:pt x="342" y="1872"/>
                  <a:pt x="289" y="1818"/>
                  <a:pt x="243" y="1757"/>
                </a:cubicBezTo>
                <a:cubicBezTo>
                  <a:pt x="180" y="1671"/>
                  <a:pt x="134" y="1575"/>
                  <a:pt x="98" y="1476"/>
                </a:cubicBezTo>
                <a:cubicBezTo>
                  <a:pt x="60" y="1373"/>
                  <a:pt x="33" y="1268"/>
                  <a:pt x="13" y="1161"/>
                </a:cubicBezTo>
                <a:cubicBezTo>
                  <a:pt x="8" y="1128"/>
                  <a:pt x="1" y="1096"/>
                  <a:pt x="1" y="1063"/>
                </a:cubicBezTo>
                <a:cubicBezTo>
                  <a:pt x="0" y="714"/>
                  <a:pt x="1" y="365"/>
                  <a:pt x="1" y="16"/>
                </a:cubicBezTo>
                <a:cubicBezTo>
                  <a:pt x="1" y="11"/>
                  <a:pt x="1" y="6"/>
                  <a:pt x="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44B07A7-FBF2-491D-B0F6-7A5448F53F3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07988" y="2439343"/>
            <a:ext cx="4940178" cy="1008112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ts val="1800"/>
              </a:lnSpc>
              <a:spcAft>
                <a:spcPts val="600"/>
              </a:spcAft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6956FD36-565A-4468-BCC4-CB77852669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96200" y="1404921"/>
            <a:ext cx="3887813" cy="52488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16278310-82AA-4E47-A510-E54DC245FB2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96200" y="5918247"/>
            <a:ext cx="3887813" cy="52488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BF327CC-2917-45F5-82B2-75A9F742E63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896200" y="5015581"/>
            <a:ext cx="3887813" cy="52488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169195DA-4761-45A5-B68F-E20845F04F0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896200" y="4112916"/>
            <a:ext cx="3887813" cy="52488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343313FC-7C2A-4C39-A322-E5328A14AED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896200" y="3210251"/>
            <a:ext cx="3887813" cy="52488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C9E896F1-84B5-4E7A-BD88-FFAFED8559E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896200" y="2307586"/>
            <a:ext cx="3887813" cy="52488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447298"/>
            <a:ext cx="5471988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/>
              <a:t>24-Jan-2018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en-US"/>
              <a:t>ADM Automation Awareness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DD205EFF-948D-4AF6-B54C-65639188FB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4870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Shapes - Layout5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35972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0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C50C01FB-E2BF-4470-A153-6F7BF3CCF3F9}"/>
              </a:ext>
            </a:extLst>
          </p:cNvPr>
          <p:cNvSpPr/>
          <p:nvPr userDrawn="1"/>
        </p:nvSpPr>
        <p:spPr>
          <a:xfrm>
            <a:off x="0" y="4437112"/>
            <a:ext cx="12192000" cy="2420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9" name="Freeform 5"/>
          <p:cNvSpPr>
            <a:spLocks/>
          </p:cNvSpPr>
          <p:nvPr userDrawn="1"/>
        </p:nvSpPr>
        <p:spPr bwMode="auto">
          <a:xfrm>
            <a:off x="10543422" y="1"/>
            <a:ext cx="1648578" cy="5085230"/>
          </a:xfrm>
          <a:custGeom>
            <a:avLst/>
            <a:gdLst>
              <a:gd name="T0" fmla="*/ 91 w 548"/>
              <a:gd name="T1" fmla="*/ 0 h 1694"/>
              <a:gd name="T2" fmla="*/ 548 w 548"/>
              <a:gd name="T3" fmla="*/ 0 h 1694"/>
              <a:gd name="T4" fmla="*/ 548 w 548"/>
              <a:gd name="T5" fmla="*/ 1694 h 1694"/>
              <a:gd name="T6" fmla="*/ 489 w 548"/>
              <a:gd name="T7" fmla="*/ 1661 h 1694"/>
              <a:gd name="T8" fmla="*/ 233 w 548"/>
              <a:gd name="T9" fmla="*/ 1367 h 1694"/>
              <a:gd name="T10" fmla="*/ 129 w 548"/>
              <a:gd name="T11" fmla="*/ 1033 h 1694"/>
              <a:gd name="T12" fmla="*/ 83 w 548"/>
              <a:gd name="T13" fmla="*/ 629 h 1694"/>
              <a:gd name="T14" fmla="*/ 54 w 548"/>
              <a:gd name="T15" fmla="*/ 304 h 1694"/>
              <a:gd name="T16" fmla="*/ 2 w 548"/>
              <a:gd name="T17" fmla="*/ 84 h 1694"/>
              <a:gd name="T18" fmla="*/ 6 w 548"/>
              <a:gd name="T19" fmla="*/ 73 h 1694"/>
              <a:gd name="T20" fmla="*/ 83 w 548"/>
              <a:gd name="T21" fmla="*/ 8 h 1694"/>
              <a:gd name="T22" fmla="*/ 91 w 548"/>
              <a:gd name="T23" fmla="*/ 0 h 16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48" h="1694">
                <a:moveTo>
                  <a:pt x="91" y="0"/>
                </a:moveTo>
                <a:cubicBezTo>
                  <a:pt x="243" y="0"/>
                  <a:pt x="395" y="0"/>
                  <a:pt x="548" y="0"/>
                </a:cubicBezTo>
                <a:cubicBezTo>
                  <a:pt x="548" y="564"/>
                  <a:pt x="548" y="1129"/>
                  <a:pt x="548" y="1694"/>
                </a:cubicBezTo>
                <a:cubicBezTo>
                  <a:pt x="528" y="1683"/>
                  <a:pt x="508" y="1673"/>
                  <a:pt x="489" y="1661"/>
                </a:cubicBezTo>
                <a:cubicBezTo>
                  <a:pt x="375" y="1588"/>
                  <a:pt x="292" y="1488"/>
                  <a:pt x="233" y="1367"/>
                </a:cubicBezTo>
                <a:cubicBezTo>
                  <a:pt x="181" y="1261"/>
                  <a:pt x="151" y="1149"/>
                  <a:pt x="129" y="1033"/>
                </a:cubicBezTo>
                <a:cubicBezTo>
                  <a:pt x="105" y="900"/>
                  <a:pt x="94" y="765"/>
                  <a:pt x="83" y="629"/>
                </a:cubicBezTo>
                <a:cubicBezTo>
                  <a:pt x="75" y="521"/>
                  <a:pt x="66" y="413"/>
                  <a:pt x="54" y="304"/>
                </a:cubicBezTo>
                <a:cubicBezTo>
                  <a:pt x="46" y="229"/>
                  <a:pt x="31" y="155"/>
                  <a:pt x="2" y="84"/>
                </a:cubicBezTo>
                <a:cubicBezTo>
                  <a:pt x="0" y="78"/>
                  <a:pt x="2" y="76"/>
                  <a:pt x="6" y="73"/>
                </a:cubicBezTo>
                <a:cubicBezTo>
                  <a:pt x="32" y="51"/>
                  <a:pt x="58" y="30"/>
                  <a:pt x="83" y="8"/>
                </a:cubicBezTo>
                <a:cubicBezTo>
                  <a:pt x="86" y="6"/>
                  <a:pt x="88" y="3"/>
                  <a:pt x="9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/>
              <a:t>24-Jan-2018</a:t>
            </a:r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M Automation Awareness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205EFF-948D-4AF6-B54C-65639188FB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15089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1 (fix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0D0D1E5A-3176-4CB4-975A-4DC18D2902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23077" b="19676"/>
          <a:stretch/>
        </p:blipFill>
        <p:spPr>
          <a:xfrm rot="16200000">
            <a:off x="5413032" y="79029"/>
            <a:ext cx="6857997" cy="6699938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AC165F49-BCC1-4C3B-91C3-5D1BB415AB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88365" y="4308293"/>
            <a:ext cx="3484336" cy="1721321"/>
          </a:xfrm>
          <a:prstGeom prst="rect">
            <a:avLst/>
          </a:prstGeom>
        </p:spPr>
        <p:txBody>
          <a:bodyPr vert="horz" lIns="0" tIns="0" rIns="0" bIns="45720" rtlCol="0" anchor="b">
            <a:noAutofit/>
          </a:bodyPr>
          <a:lstStyle>
            <a:lvl1pPr>
              <a:lnSpc>
                <a:spcPts val="3000"/>
              </a:lnSpc>
              <a:defRPr sz="2600">
                <a:solidFill>
                  <a:srgbClr val="2C004B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98BC8B91-D2A3-4F52-B4E2-1C3C1B69194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7988" y="5085184"/>
            <a:ext cx="4123375" cy="94443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ts val="2200"/>
              </a:lnSpc>
              <a:spcAft>
                <a:spcPts val="0"/>
              </a:spcAft>
              <a:defRPr sz="18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pic>
        <p:nvPicPr>
          <p:cNvPr id="6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cxnSp>
        <p:nvCxnSpPr>
          <p:cNvPr id="15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68760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7"/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/>
              <a:t>24-Jan-2018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M Automation Awareness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D205EFF-948D-4AF6-B54C-65639188FB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26315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4 (with imag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8" y="404813"/>
            <a:ext cx="2286000" cy="510013"/>
          </a:xfrm>
          <a:prstGeom prst="rect">
            <a:avLst/>
          </a:prstGeom>
        </p:spPr>
      </p:pic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7D1DC75A-C7A4-44A4-B19C-D445335545B0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07988" y="3555553"/>
            <a:ext cx="5399980" cy="869950"/>
          </a:xfrm>
        </p:spPr>
        <p:txBody>
          <a:bodyPr lIns="0" tIns="0" rIns="0" bIns="0" anchor="b">
            <a:normAutofit/>
          </a:bodyPr>
          <a:lstStyle>
            <a:lvl1pPr>
              <a:lnSpc>
                <a:spcPts val="3000"/>
              </a:lnSpc>
              <a:defRPr sz="26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63879A0-0979-491A-8758-371BB7AD935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07988" y="4540515"/>
            <a:ext cx="5399980" cy="1196340"/>
          </a:xfrm>
        </p:spPr>
        <p:txBody>
          <a:bodyPr lIns="0" tIns="0" rIns="0" bIns="0">
            <a:normAutofit/>
          </a:bodyPr>
          <a:lstStyle>
            <a:lvl1pPr>
              <a:lnSpc>
                <a:spcPts val="1800"/>
              </a:lnSpc>
              <a:defRPr sz="1600">
                <a:solidFill>
                  <a:schemeClr val="accent2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presenter, location, and date</a:t>
            </a:r>
            <a:endParaRPr lang="pt-PT" dirty="0"/>
          </a:p>
        </p:txBody>
      </p:sp>
      <p:sp>
        <p:nvSpPr>
          <p:cNvPr id="9" name="Freeform 8"/>
          <p:cNvSpPr>
            <a:spLocks/>
          </p:cNvSpPr>
          <p:nvPr userDrawn="1"/>
        </p:nvSpPr>
        <p:spPr bwMode="auto">
          <a:xfrm rot="16200000" flipH="1">
            <a:off x="6452111" y="-68077"/>
            <a:ext cx="5668785" cy="5804940"/>
          </a:xfrm>
          <a:custGeom>
            <a:avLst/>
            <a:gdLst>
              <a:gd name="connsiteX0" fmla="*/ 0 w 5668785"/>
              <a:gd name="connsiteY0" fmla="*/ 1025493 h 5804940"/>
              <a:gd name="connsiteX1" fmla="*/ 0 w 5668785"/>
              <a:gd name="connsiteY1" fmla="*/ 5780147 h 5804940"/>
              <a:gd name="connsiteX2" fmla="*/ 0 w 5668785"/>
              <a:gd name="connsiteY2" fmla="*/ 5804940 h 5804940"/>
              <a:gd name="connsiteX3" fmla="*/ 4356105 w 5668785"/>
              <a:gd name="connsiteY3" fmla="*/ 5804940 h 5804940"/>
              <a:gd name="connsiteX4" fmla="*/ 4387147 w 5668785"/>
              <a:gd name="connsiteY4" fmla="*/ 5753960 h 5804940"/>
              <a:gd name="connsiteX5" fmla="*/ 4144239 w 5668785"/>
              <a:gd name="connsiteY5" fmla="*/ 0 h 5804940"/>
              <a:gd name="connsiteX6" fmla="*/ 0 w 5668785"/>
              <a:gd name="connsiteY6" fmla="*/ 1025493 h 5804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68785" h="5804940">
                <a:moveTo>
                  <a:pt x="0" y="1025493"/>
                </a:moveTo>
                <a:cubicBezTo>
                  <a:pt x="0" y="3841436"/>
                  <a:pt x="0" y="5161410"/>
                  <a:pt x="0" y="5780147"/>
                </a:cubicBezTo>
                <a:lnTo>
                  <a:pt x="0" y="5804940"/>
                </a:lnTo>
                <a:lnTo>
                  <a:pt x="4356105" y="5804940"/>
                </a:lnTo>
                <a:lnTo>
                  <a:pt x="4387147" y="5753960"/>
                </a:lnTo>
                <a:cubicBezTo>
                  <a:pt x="6056693" y="2965876"/>
                  <a:pt x="6215804" y="1252733"/>
                  <a:pt x="4144239" y="0"/>
                </a:cubicBezTo>
                <a:cubicBezTo>
                  <a:pt x="1739338" y="1309612"/>
                  <a:pt x="572384" y="1318491"/>
                  <a:pt x="0" y="1025493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5587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47151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 5"/>
          <p:cNvSpPr>
            <a:spLocks/>
          </p:cNvSpPr>
          <p:nvPr userDrawn="1"/>
        </p:nvSpPr>
        <p:spPr bwMode="auto">
          <a:xfrm>
            <a:off x="0" y="0"/>
            <a:ext cx="5452303" cy="6384585"/>
          </a:xfrm>
          <a:custGeom>
            <a:avLst/>
            <a:gdLst>
              <a:gd name="T0" fmla="*/ 0 w 1745"/>
              <a:gd name="T1" fmla="*/ 1807 h 2044"/>
              <a:gd name="T2" fmla="*/ 0 w 1745"/>
              <a:gd name="T3" fmla="*/ 0 h 2044"/>
              <a:gd name="T4" fmla="*/ 1742 w 1745"/>
              <a:gd name="T5" fmla="*/ 0 h 2044"/>
              <a:gd name="T6" fmla="*/ 1742 w 1745"/>
              <a:gd name="T7" fmla="*/ 10 h 2044"/>
              <a:gd name="T8" fmla="*/ 1735 w 1745"/>
              <a:gd name="T9" fmla="*/ 160 h 2044"/>
              <a:gd name="T10" fmla="*/ 1654 w 1745"/>
              <a:gd name="T11" fmla="*/ 439 h 2044"/>
              <a:gd name="T12" fmla="*/ 1452 w 1745"/>
              <a:gd name="T13" fmla="*/ 821 h 2044"/>
              <a:gd name="T14" fmla="*/ 1197 w 1745"/>
              <a:gd name="T15" fmla="*/ 1214 h 2044"/>
              <a:gd name="T16" fmla="*/ 1019 w 1745"/>
              <a:gd name="T17" fmla="*/ 1509 h 2044"/>
              <a:gd name="T18" fmla="*/ 946 w 1745"/>
              <a:gd name="T19" fmla="*/ 1692 h 2044"/>
              <a:gd name="T20" fmla="*/ 945 w 1745"/>
              <a:gd name="T21" fmla="*/ 1848 h 2044"/>
              <a:gd name="T22" fmla="*/ 941 w 1745"/>
              <a:gd name="T23" fmla="*/ 1857 h 2044"/>
              <a:gd name="T24" fmla="*/ 873 w 1745"/>
              <a:gd name="T25" fmla="*/ 1920 h 2044"/>
              <a:gd name="T26" fmla="*/ 522 w 1745"/>
              <a:gd name="T27" fmla="*/ 2037 h 2044"/>
              <a:gd name="T28" fmla="*/ 267 w 1745"/>
              <a:gd name="T29" fmla="*/ 1971 h 2044"/>
              <a:gd name="T30" fmla="*/ 12 w 1745"/>
              <a:gd name="T31" fmla="*/ 1814 h 2044"/>
              <a:gd name="T32" fmla="*/ 0 w 1745"/>
              <a:gd name="T33" fmla="*/ 1807 h 20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745" h="2044">
                <a:moveTo>
                  <a:pt x="0" y="1807"/>
                </a:moveTo>
                <a:cubicBezTo>
                  <a:pt x="0" y="1205"/>
                  <a:pt x="0" y="602"/>
                  <a:pt x="0" y="0"/>
                </a:cubicBezTo>
                <a:cubicBezTo>
                  <a:pt x="580" y="0"/>
                  <a:pt x="1161" y="0"/>
                  <a:pt x="1742" y="0"/>
                </a:cubicBezTo>
                <a:cubicBezTo>
                  <a:pt x="1742" y="3"/>
                  <a:pt x="1741" y="7"/>
                  <a:pt x="1742" y="10"/>
                </a:cubicBezTo>
                <a:cubicBezTo>
                  <a:pt x="1745" y="60"/>
                  <a:pt x="1742" y="110"/>
                  <a:pt x="1735" y="160"/>
                </a:cubicBezTo>
                <a:cubicBezTo>
                  <a:pt x="1721" y="257"/>
                  <a:pt x="1691" y="349"/>
                  <a:pt x="1654" y="439"/>
                </a:cubicBezTo>
                <a:cubicBezTo>
                  <a:pt x="1599" y="573"/>
                  <a:pt x="1529" y="699"/>
                  <a:pt x="1452" y="821"/>
                </a:cubicBezTo>
                <a:cubicBezTo>
                  <a:pt x="1369" y="953"/>
                  <a:pt x="1282" y="1083"/>
                  <a:pt x="1197" y="1214"/>
                </a:cubicBezTo>
                <a:cubicBezTo>
                  <a:pt x="1134" y="1311"/>
                  <a:pt x="1072" y="1407"/>
                  <a:pt x="1019" y="1509"/>
                </a:cubicBezTo>
                <a:cubicBezTo>
                  <a:pt x="989" y="1568"/>
                  <a:pt x="962" y="1628"/>
                  <a:pt x="946" y="1692"/>
                </a:cubicBezTo>
                <a:cubicBezTo>
                  <a:pt x="933" y="1744"/>
                  <a:pt x="929" y="1796"/>
                  <a:pt x="945" y="1848"/>
                </a:cubicBezTo>
                <a:cubicBezTo>
                  <a:pt x="945" y="1850"/>
                  <a:pt x="943" y="1855"/>
                  <a:pt x="941" y="1857"/>
                </a:cubicBezTo>
                <a:cubicBezTo>
                  <a:pt x="919" y="1878"/>
                  <a:pt x="897" y="1901"/>
                  <a:pt x="873" y="1920"/>
                </a:cubicBezTo>
                <a:cubicBezTo>
                  <a:pt x="771" y="2003"/>
                  <a:pt x="654" y="2044"/>
                  <a:pt x="522" y="2037"/>
                </a:cubicBezTo>
                <a:cubicBezTo>
                  <a:pt x="432" y="2032"/>
                  <a:pt x="348" y="2007"/>
                  <a:pt x="267" y="1971"/>
                </a:cubicBezTo>
                <a:cubicBezTo>
                  <a:pt x="175" y="1929"/>
                  <a:pt x="92" y="1875"/>
                  <a:pt x="12" y="1814"/>
                </a:cubicBezTo>
                <a:cubicBezTo>
                  <a:pt x="8" y="1811"/>
                  <a:pt x="4" y="1809"/>
                  <a:pt x="0" y="1807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218E0C47-FBAF-440E-A6A0-9D14AE6071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12191999" cy="6857998"/>
          </a:xfrm>
          <a:custGeom>
            <a:avLst/>
            <a:gdLst>
              <a:gd name="connsiteX0" fmla="*/ 0 w 12191999"/>
              <a:gd name="connsiteY0" fmla="*/ 0 h 6857998"/>
              <a:gd name="connsiteX1" fmla="*/ 12191999 w 12191999"/>
              <a:gd name="connsiteY1" fmla="*/ 0 h 6857998"/>
              <a:gd name="connsiteX2" fmla="*/ 12191999 w 12191999"/>
              <a:gd name="connsiteY2" fmla="*/ 6857998 h 6857998"/>
              <a:gd name="connsiteX3" fmla="*/ 0 w 12191999"/>
              <a:gd name="connsiteY3" fmla="*/ 6857998 h 6857998"/>
              <a:gd name="connsiteX4" fmla="*/ 0 w 12191999"/>
              <a:gd name="connsiteY4" fmla="*/ 5644299 h 6857998"/>
              <a:gd name="connsiteX5" fmla="*/ 37495 w 12191999"/>
              <a:gd name="connsiteY5" fmla="*/ 5666164 h 6857998"/>
              <a:gd name="connsiteX6" fmla="*/ 834250 w 12191999"/>
              <a:gd name="connsiteY6" fmla="*/ 6156565 h 6857998"/>
              <a:gd name="connsiteX7" fmla="*/ 1631004 w 12191999"/>
              <a:gd name="connsiteY7" fmla="*/ 6362721 h 6857998"/>
              <a:gd name="connsiteX8" fmla="*/ 2727714 w 12191999"/>
              <a:gd name="connsiteY8" fmla="*/ 5997263 h 6857998"/>
              <a:gd name="connsiteX9" fmla="*/ 2940182 w 12191999"/>
              <a:gd name="connsiteY9" fmla="*/ 5800478 h 6857998"/>
              <a:gd name="connsiteX10" fmla="*/ 2952680 w 12191999"/>
              <a:gd name="connsiteY10" fmla="*/ 5772366 h 6857998"/>
              <a:gd name="connsiteX11" fmla="*/ 2955805 w 12191999"/>
              <a:gd name="connsiteY11" fmla="*/ 5285088 h 6857998"/>
              <a:gd name="connsiteX12" fmla="*/ 3183895 w 12191999"/>
              <a:gd name="connsiteY12" fmla="*/ 4713474 h 6857998"/>
              <a:gd name="connsiteX13" fmla="*/ 3740061 w 12191999"/>
              <a:gd name="connsiteY13" fmla="*/ 3792020 h 6857998"/>
              <a:gd name="connsiteX14" fmla="*/ 4536816 w 12191999"/>
              <a:gd name="connsiteY14" fmla="*/ 2564455 h 6857998"/>
              <a:gd name="connsiteX15" fmla="*/ 5167971 w 12191999"/>
              <a:gd name="connsiteY15" fmla="*/ 1371250 h 6857998"/>
              <a:gd name="connsiteX16" fmla="*/ 5421058 w 12191999"/>
              <a:gd name="connsiteY16" fmla="*/ 499773 h 6857998"/>
              <a:gd name="connsiteX17" fmla="*/ 5442930 w 12191999"/>
              <a:gd name="connsiteY17" fmla="*/ 31237 h 6857998"/>
              <a:gd name="connsiteX18" fmla="*/ 5442930 w 12191999"/>
              <a:gd name="connsiteY18" fmla="*/ 1 h 6857998"/>
              <a:gd name="connsiteX19" fmla="*/ 0 w 12191999"/>
              <a:gd name="connsiteY19" fmla="*/ 1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1999" h="6857998">
                <a:moveTo>
                  <a:pt x="0" y="0"/>
                </a:moveTo>
                <a:lnTo>
                  <a:pt x="12191999" y="0"/>
                </a:lnTo>
                <a:lnTo>
                  <a:pt x="12191999" y="6857998"/>
                </a:lnTo>
                <a:lnTo>
                  <a:pt x="0" y="6857998"/>
                </a:lnTo>
                <a:lnTo>
                  <a:pt x="0" y="5644299"/>
                </a:lnTo>
                <a:cubicBezTo>
                  <a:pt x="12498" y="5650546"/>
                  <a:pt x="24996" y="5656794"/>
                  <a:pt x="37495" y="5666164"/>
                </a:cubicBezTo>
                <a:cubicBezTo>
                  <a:pt x="287457" y="5856702"/>
                  <a:pt x="546793" y="6025375"/>
                  <a:pt x="834250" y="6156565"/>
                </a:cubicBezTo>
                <a:cubicBezTo>
                  <a:pt x="1087336" y="6269014"/>
                  <a:pt x="1349797" y="6347103"/>
                  <a:pt x="1631004" y="6362721"/>
                </a:cubicBezTo>
                <a:cubicBezTo>
                  <a:pt x="2043442" y="6384586"/>
                  <a:pt x="2409012" y="6256520"/>
                  <a:pt x="2727714" y="5997263"/>
                </a:cubicBezTo>
                <a:cubicBezTo>
                  <a:pt x="2802703" y="5937915"/>
                  <a:pt x="2871442" y="5866073"/>
                  <a:pt x="2940182" y="5800478"/>
                </a:cubicBezTo>
                <a:cubicBezTo>
                  <a:pt x="2946431" y="5794231"/>
                  <a:pt x="2952680" y="5778613"/>
                  <a:pt x="2952680" y="5772366"/>
                </a:cubicBezTo>
                <a:cubicBezTo>
                  <a:pt x="2902688" y="5609940"/>
                  <a:pt x="2915186" y="5447514"/>
                  <a:pt x="2955805" y="5285088"/>
                </a:cubicBezTo>
                <a:cubicBezTo>
                  <a:pt x="3005797" y="5085180"/>
                  <a:pt x="3090159" y="4897765"/>
                  <a:pt x="3183895" y="4713474"/>
                </a:cubicBezTo>
                <a:cubicBezTo>
                  <a:pt x="3349495" y="4394870"/>
                  <a:pt x="3543216" y="4095006"/>
                  <a:pt x="3740061" y="3792020"/>
                </a:cubicBezTo>
                <a:cubicBezTo>
                  <a:pt x="4005646" y="3382832"/>
                  <a:pt x="4277480" y="2976767"/>
                  <a:pt x="4536816" y="2564455"/>
                </a:cubicBezTo>
                <a:cubicBezTo>
                  <a:pt x="4777405" y="2183379"/>
                  <a:pt x="4996122" y="1789809"/>
                  <a:pt x="5167971" y="1371250"/>
                </a:cubicBezTo>
                <a:cubicBezTo>
                  <a:pt x="5283579" y="1090128"/>
                  <a:pt x="5377315" y="802760"/>
                  <a:pt x="5421058" y="499773"/>
                </a:cubicBezTo>
                <a:cubicBezTo>
                  <a:pt x="5442930" y="343594"/>
                  <a:pt x="5452303" y="187416"/>
                  <a:pt x="5442930" y="31237"/>
                </a:cubicBezTo>
                <a:cubicBezTo>
                  <a:pt x="5439805" y="21866"/>
                  <a:pt x="5442930" y="9372"/>
                  <a:pt x="5442930" y="1"/>
                </a:cubicBezTo>
                <a:cubicBezTo>
                  <a:pt x="3627578" y="1"/>
                  <a:pt x="1812227" y="1"/>
                  <a:pt x="0" y="1"/>
                </a:cubicBez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AC165F49-BCC1-4C3B-91C3-5D1BB415AB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649981"/>
            <a:ext cx="4319860" cy="1194843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lnSpc>
                <a:spcPts val="3000"/>
              </a:lnSpc>
              <a:defRPr sz="2600">
                <a:solidFill>
                  <a:srgbClr val="12ABDB"/>
                </a:solidFill>
              </a:defRPr>
            </a:lvl1pPr>
          </a:lstStyle>
          <a:p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98BC8B91-D2A3-4F52-B4E2-1C3C1B69194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7988" y="1988840"/>
            <a:ext cx="3599780" cy="115212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/>
              <a:t>24-Jan-2018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/>
              <a:t>ADM Automation Awarene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pPr algn="r"/>
            <a:fld id="{DD205EFF-948D-4AF6-B54C-65639188FB5F}" type="slidenum">
              <a:rPr lang="en-US" smtClean="0"/>
              <a:pPr algn="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4627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92166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5"/>
          <p:cNvSpPr>
            <a:spLocks/>
          </p:cNvSpPr>
          <p:nvPr userDrawn="1"/>
        </p:nvSpPr>
        <p:spPr bwMode="auto">
          <a:xfrm>
            <a:off x="0" y="0"/>
            <a:ext cx="9372600" cy="6858000"/>
          </a:xfrm>
          <a:custGeom>
            <a:avLst/>
            <a:gdLst>
              <a:gd name="T0" fmla="*/ 810 w 2953"/>
              <a:gd name="T1" fmla="*/ 2160 h 2160"/>
              <a:gd name="T2" fmla="*/ 0 w 2953"/>
              <a:gd name="T3" fmla="*/ 2160 h 2160"/>
              <a:gd name="T4" fmla="*/ 0 w 2953"/>
              <a:gd name="T5" fmla="*/ 0 h 2160"/>
              <a:gd name="T6" fmla="*/ 2953 w 2953"/>
              <a:gd name="T7" fmla="*/ 0 h 2160"/>
              <a:gd name="T8" fmla="*/ 2951 w 2953"/>
              <a:gd name="T9" fmla="*/ 9 h 2160"/>
              <a:gd name="T10" fmla="*/ 2912 w 2953"/>
              <a:gd name="T11" fmla="*/ 104 h 2160"/>
              <a:gd name="T12" fmla="*/ 2689 w 2953"/>
              <a:gd name="T13" fmla="*/ 359 h 2160"/>
              <a:gd name="T14" fmla="*/ 2421 w 2953"/>
              <a:gd name="T15" fmla="*/ 509 h 2160"/>
              <a:gd name="T16" fmla="*/ 1974 w 2953"/>
              <a:gd name="T17" fmla="*/ 701 h 2160"/>
              <a:gd name="T18" fmla="*/ 1632 w 2953"/>
              <a:gd name="T19" fmla="*/ 876 h 2160"/>
              <a:gd name="T20" fmla="*/ 1411 w 2953"/>
              <a:gd name="T21" fmla="*/ 1047 h 2160"/>
              <a:gd name="T22" fmla="*/ 1306 w 2953"/>
              <a:gd name="T23" fmla="*/ 1219 h 2160"/>
              <a:gd name="T24" fmla="*/ 1303 w 2953"/>
              <a:gd name="T25" fmla="*/ 1459 h 2160"/>
              <a:gd name="T26" fmla="*/ 1396 w 2953"/>
              <a:gd name="T27" fmla="*/ 1682 h 2160"/>
              <a:gd name="T28" fmla="*/ 1403 w 2953"/>
              <a:gd name="T29" fmla="*/ 1695 h 2160"/>
              <a:gd name="T30" fmla="*/ 1398 w 2953"/>
              <a:gd name="T31" fmla="*/ 1700 h 2160"/>
              <a:gd name="T32" fmla="*/ 882 w 2953"/>
              <a:gd name="T33" fmla="*/ 2110 h 2160"/>
              <a:gd name="T34" fmla="*/ 810 w 2953"/>
              <a:gd name="T35" fmla="*/ 2160 h 2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953" h="2160">
                <a:moveTo>
                  <a:pt x="810" y="2160"/>
                </a:moveTo>
                <a:cubicBezTo>
                  <a:pt x="540" y="2160"/>
                  <a:pt x="270" y="2160"/>
                  <a:pt x="0" y="2160"/>
                </a:cubicBezTo>
                <a:cubicBezTo>
                  <a:pt x="0" y="1440"/>
                  <a:pt x="0" y="720"/>
                  <a:pt x="0" y="0"/>
                </a:cubicBezTo>
                <a:cubicBezTo>
                  <a:pt x="984" y="0"/>
                  <a:pt x="1969" y="0"/>
                  <a:pt x="2953" y="0"/>
                </a:cubicBezTo>
                <a:cubicBezTo>
                  <a:pt x="2952" y="3"/>
                  <a:pt x="2952" y="6"/>
                  <a:pt x="2951" y="9"/>
                </a:cubicBezTo>
                <a:cubicBezTo>
                  <a:pt x="2938" y="41"/>
                  <a:pt x="2927" y="73"/>
                  <a:pt x="2912" y="104"/>
                </a:cubicBezTo>
                <a:cubicBezTo>
                  <a:pt x="2859" y="208"/>
                  <a:pt x="2782" y="290"/>
                  <a:pt x="2689" y="359"/>
                </a:cubicBezTo>
                <a:cubicBezTo>
                  <a:pt x="2607" y="421"/>
                  <a:pt x="2516" y="468"/>
                  <a:pt x="2421" y="509"/>
                </a:cubicBezTo>
                <a:cubicBezTo>
                  <a:pt x="2272" y="572"/>
                  <a:pt x="2123" y="636"/>
                  <a:pt x="1974" y="701"/>
                </a:cubicBezTo>
                <a:cubicBezTo>
                  <a:pt x="1857" y="753"/>
                  <a:pt x="1742" y="809"/>
                  <a:pt x="1632" y="876"/>
                </a:cubicBezTo>
                <a:cubicBezTo>
                  <a:pt x="1551" y="924"/>
                  <a:pt x="1475" y="978"/>
                  <a:pt x="1411" y="1047"/>
                </a:cubicBezTo>
                <a:cubicBezTo>
                  <a:pt x="1364" y="1097"/>
                  <a:pt x="1327" y="1153"/>
                  <a:pt x="1306" y="1219"/>
                </a:cubicBezTo>
                <a:cubicBezTo>
                  <a:pt x="1280" y="1299"/>
                  <a:pt x="1283" y="1379"/>
                  <a:pt x="1303" y="1459"/>
                </a:cubicBezTo>
                <a:cubicBezTo>
                  <a:pt x="1323" y="1538"/>
                  <a:pt x="1357" y="1612"/>
                  <a:pt x="1396" y="1682"/>
                </a:cubicBezTo>
                <a:cubicBezTo>
                  <a:pt x="1399" y="1687"/>
                  <a:pt x="1401" y="1691"/>
                  <a:pt x="1403" y="1695"/>
                </a:cubicBezTo>
                <a:cubicBezTo>
                  <a:pt x="1401" y="1697"/>
                  <a:pt x="1399" y="1698"/>
                  <a:pt x="1398" y="1700"/>
                </a:cubicBezTo>
                <a:cubicBezTo>
                  <a:pt x="1232" y="1845"/>
                  <a:pt x="1061" y="1983"/>
                  <a:pt x="882" y="2110"/>
                </a:cubicBezTo>
                <a:cubicBezTo>
                  <a:pt x="858" y="2127"/>
                  <a:pt x="834" y="2143"/>
                  <a:pt x="810" y="2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218E0C47-FBAF-440E-A6A0-9D14AE6071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12192000" cy="6857998"/>
          </a:xfrm>
          <a:custGeom>
            <a:avLst/>
            <a:gdLst>
              <a:gd name="connsiteX0" fmla="*/ 0 w 12192000"/>
              <a:gd name="connsiteY0" fmla="*/ 0 h 6857998"/>
              <a:gd name="connsiteX1" fmla="*/ 12192000 w 12192000"/>
              <a:gd name="connsiteY1" fmla="*/ 0 h 6857998"/>
              <a:gd name="connsiteX2" fmla="*/ 12192000 w 12192000"/>
              <a:gd name="connsiteY2" fmla="*/ 6857998 h 6857998"/>
              <a:gd name="connsiteX3" fmla="*/ 2570884 w 12192000"/>
              <a:gd name="connsiteY3" fmla="*/ 6857998 h 6857998"/>
              <a:gd name="connsiteX4" fmla="*/ 2799402 w 12192000"/>
              <a:gd name="connsiteY4" fmla="*/ 6699251 h 6857998"/>
              <a:gd name="connsiteX5" fmla="*/ 4437147 w 12192000"/>
              <a:gd name="connsiteY5" fmla="*/ 5397501 h 6857998"/>
              <a:gd name="connsiteX6" fmla="*/ 4453017 w 12192000"/>
              <a:gd name="connsiteY6" fmla="*/ 5381626 h 6857998"/>
              <a:gd name="connsiteX7" fmla="*/ 4430799 w 12192000"/>
              <a:gd name="connsiteY7" fmla="*/ 5340351 h 6857998"/>
              <a:gd name="connsiteX8" fmla="*/ 4135624 w 12192000"/>
              <a:gd name="connsiteY8" fmla="*/ 4632326 h 6857998"/>
              <a:gd name="connsiteX9" fmla="*/ 4145146 w 12192000"/>
              <a:gd name="connsiteY9" fmla="*/ 3870326 h 6857998"/>
              <a:gd name="connsiteX10" fmla="*/ 4478408 w 12192000"/>
              <a:gd name="connsiteY10" fmla="*/ 3324226 h 6857998"/>
              <a:gd name="connsiteX11" fmla="*/ 5179846 w 12192000"/>
              <a:gd name="connsiteY11" fmla="*/ 2781301 h 6857998"/>
              <a:gd name="connsiteX12" fmla="*/ 6265328 w 12192000"/>
              <a:gd name="connsiteY12" fmla="*/ 2225676 h 6857998"/>
              <a:gd name="connsiteX13" fmla="*/ 7684072 w 12192000"/>
              <a:gd name="connsiteY13" fmla="*/ 1616076 h 6857998"/>
              <a:gd name="connsiteX14" fmla="*/ 8534684 w 12192000"/>
              <a:gd name="connsiteY14" fmla="*/ 1139826 h 6857998"/>
              <a:gd name="connsiteX15" fmla="*/ 9242469 w 12192000"/>
              <a:gd name="connsiteY15" fmla="*/ 330201 h 6857998"/>
              <a:gd name="connsiteX16" fmla="*/ 9366252 w 12192000"/>
              <a:gd name="connsiteY16" fmla="*/ 28576 h 6857998"/>
              <a:gd name="connsiteX17" fmla="*/ 9372600 w 12192000"/>
              <a:gd name="connsiteY17" fmla="*/ 1 h 6857998"/>
              <a:gd name="connsiteX18" fmla="*/ 0 w 12192000"/>
              <a:gd name="connsiteY18" fmla="*/ 1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857998">
                <a:moveTo>
                  <a:pt x="0" y="0"/>
                </a:moveTo>
                <a:lnTo>
                  <a:pt x="12192000" y="0"/>
                </a:lnTo>
                <a:lnTo>
                  <a:pt x="12192000" y="6857998"/>
                </a:lnTo>
                <a:lnTo>
                  <a:pt x="2570884" y="6857998"/>
                </a:lnTo>
                <a:lnTo>
                  <a:pt x="2799402" y="6699251"/>
                </a:lnTo>
                <a:cubicBezTo>
                  <a:pt x="3367535" y="6296026"/>
                  <a:pt x="3910276" y="5857876"/>
                  <a:pt x="4437147" y="5397501"/>
                </a:cubicBezTo>
                <a:cubicBezTo>
                  <a:pt x="4440322" y="5391151"/>
                  <a:pt x="4446669" y="5387976"/>
                  <a:pt x="4453017" y="5381626"/>
                </a:cubicBezTo>
                <a:cubicBezTo>
                  <a:pt x="4446669" y="5368926"/>
                  <a:pt x="4440322" y="5356226"/>
                  <a:pt x="4430799" y="5340351"/>
                </a:cubicBezTo>
                <a:cubicBezTo>
                  <a:pt x="4307016" y="5118101"/>
                  <a:pt x="4199103" y="4883151"/>
                  <a:pt x="4135624" y="4632326"/>
                </a:cubicBezTo>
                <a:cubicBezTo>
                  <a:pt x="4072146" y="4378326"/>
                  <a:pt x="4062624" y="4124326"/>
                  <a:pt x="4145146" y="3870326"/>
                </a:cubicBezTo>
                <a:cubicBezTo>
                  <a:pt x="4211798" y="3660776"/>
                  <a:pt x="4329234" y="3482976"/>
                  <a:pt x="4478408" y="3324226"/>
                </a:cubicBezTo>
                <a:cubicBezTo>
                  <a:pt x="4681539" y="3105151"/>
                  <a:pt x="4922758" y="2933701"/>
                  <a:pt x="5179846" y="2781301"/>
                </a:cubicBezTo>
                <a:cubicBezTo>
                  <a:pt x="5528977" y="2568576"/>
                  <a:pt x="5893979" y="2390776"/>
                  <a:pt x="6265328" y="2225676"/>
                </a:cubicBezTo>
                <a:cubicBezTo>
                  <a:pt x="6738243" y="2019301"/>
                  <a:pt x="7211157" y="1816101"/>
                  <a:pt x="7684072" y="1616076"/>
                </a:cubicBezTo>
                <a:cubicBezTo>
                  <a:pt x="7985595" y="1485901"/>
                  <a:pt x="8274422" y="1336676"/>
                  <a:pt x="8534684" y="1139826"/>
                </a:cubicBezTo>
                <a:cubicBezTo>
                  <a:pt x="8829859" y="920751"/>
                  <a:pt x="9074251" y="660401"/>
                  <a:pt x="9242469" y="330201"/>
                </a:cubicBezTo>
                <a:cubicBezTo>
                  <a:pt x="9290078" y="231776"/>
                  <a:pt x="9324991" y="130176"/>
                  <a:pt x="9366252" y="28576"/>
                </a:cubicBezTo>
                <a:cubicBezTo>
                  <a:pt x="9369426" y="19051"/>
                  <a:pt x="9369426" y="9526"/>
                  <a:pt x="9372600" y="1"/>
                </a:cubicBezTo>
                <a:cubicBezTo>
                  <a:pt x="6249458" y="1"/>
                  <a:pt x="3123142" y="1"/>
                  <a:pt x="0" y="1"/>
                </a:cubicBez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AC165F49-BCC1-4C3B-91C3-5D1BB415AB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649981"/>
            <a:ext cx="4319860" cy="1194843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lnSpc>
                <a:spcPts val="3000"/>
              </a:lnSpc>
              <a:defRPr sz="2600">
                <a:solidFill>
                  <a:srgbClr val="12ABDB"/>
                </a:solidFill>
              </a:defRPr>
            </a:lvl1pPr>
          </a:lstStyle>
          <a:p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98BC8B91-D2A3-4F52-B4E2-1C3C1B69194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7988" y="1988840"/>
            <a:ext cx="3709150" cy="115212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3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pPr>
              <a:lnSpc>
                <a:spcPct val="85000"/>
              </a:lnSpc>
            </a:pPr>
            <a:r>
              <a:rPr lang="en-US"/>
              <a:t>24-Jan-2018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/>
              <a:t>ADM Automation Awarene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pPr algn="r"/>
            <a:fld id="{DD205EFF-948D-4AF6-B54C-65639188FB5F}" type="slidenum">
              <a:rPr lang="en-US" smtClean="0"/>
              <a:pPr algn="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6061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chnolog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5A5BCC8E-52FE-4AF2-85A3-02F305A605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80" b="30671"/>
          <a:stretch/>
        </p:blipFill>
        <p:spPr>
          <a:xfrm flipH="1">
            <a:off x="3886200" y="812801"/>
            <a:ext cx="8305800" cy="6045199"/>
          </a:xfrm>
          <a:prstGeom prst="rect">
            <a:avLst/>
          </a:prstGeom>
        </p:spPr>
      </p:pic>
      <p:sp>
        <p:nvSpPr>
          <p:cNvPr id="8" name="Picture Placeholder 17">
            <a:extLst>
              <a:ext uri="{FF2B5EF4-FFF2-40B4-BE49-F238E27FC236}">
                <a16:creationId xmlns:a16="http://schemas.microsoft.com/office/drawing/2014/main" id="{EDC88BCB-F476-4BB6-A735-9D28ECF2EBD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7358743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1EA78C13-ABAA-4BAC-9CD6-3FC2F27882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41936" y="1917275"/>
            <a:ext cx="4142078" cy="1727749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r">
              <a:lnSpc>
                <a:spcPts val="3000"/>
              </a:lnSpc>
              <a:defRPr sz="2600">
                <a:solidFill>
                  <a:srgbClr val="95E616"/>
                </a:solidFill>
              </a:defRPr>
            </a:lvl1pPr>
          </a:lstStyle>
          <a:p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235AC200-82C6-49D0-B50C-8C2A4A3A2B9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31886" y="3762625"/>
            <a:ext cx="4152128" cy="21866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/>
              <a:t>24-Jan-2018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pPr algn="r"/>
            <a:fld id="{DD205EFF-948D-4AF6-B54C-65639188FB5F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r>
              <a:rPr lang="en-US"/>
              <a:t>ADM Automation Awarene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2217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0800" y="0"/>
            <a:ext cx="57911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84686" y="-1"/>
            <a:ext cx="5907313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17591" y="1430234"/>
            <a:ext cx="5678409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>
                <a:solidFill>
                  <a:schemeClr val="tx1"/>
                </a:solidFill>
              </a:defRPr>
            </a:lvl1pPr>
            <a:lvl2pPr marL="231775" indent="-227013">
              <a:lnSpc>
                <a:spcPts val="1800"/>
              </a:lnSpc>
              <a:defRPr sz="1600">
                <a:solidFill>
                  <a:schemeClr val="tx1"/>
                </a:solidFill>
              </a:defRPr>
            </a:lvl2pPr>
            <a:lvl3pPr marL="463550" indent="-231775">
              <a:lnSpc>
                <a:spcPts val="1600"/>
              </a:lnSpc>
              <a:defRPr sz="1400">
                <a:solidFill>
                  <a:schemeClr val="tx1"/>
                </a:solidFill>
              </a:defRPr>
            </a:lvl3pPr>
            <a:lvl4pPr marL="682625" indent="-219075">
              <a:lnSpc>
                <a:spcPts val="1400"/>
              </a:lnSpc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17591" y="3253616"/>
            <a:ext cx="5678409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>
                <a:solidFill>
                  <a:schemeClr val="tx1"/>
                </a:solidFill>
              </a:defRPr>
            </a:lvl1pPr>
            <a:lvl2pPr marL="231775" indent="-227013">
              <a:lnSpc>
                <a:spcPts val="1800"/>
              </a:lnSpc>
              <a:defRPr sz="1600">
                <a:solidFill>
                  <a:schemeClr val="tx1"/>
                </a:solidFill>
              </a:defRPr>
            </a:lvl2pPr>
            <a:lvl3pPr marL="463550" indent="-231775">
              <a:lnSpc>
                <a:spcPts val="1600"/>
              </a:lnSpc>
              <a:defRPr sz="1400">
                <a:solidFill>
                  <a:schemeClr val="tx1"/>
                </a:solidFill>
              </a:defRPr>
            </a:lvl3pPr>
            <a:lvl4pPr marL="682625" indent="-219075">
              <a:lnSpc>
                <a:spcPts val="1400"/>
              </a:lnSpc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17591" y="5076998"/>
            <a:ext cx="5678409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>
                <a:solidFill>
                  <a:schemeClr val="tx1"/>
                </a:solidFill>
              </a:defRPr>
            </a:lvl1pPr>
            <a:lvl2pPr marL="231775" indent="-227013">
              <a:lnSpc>
                <a:spcPts val="1800"/>
              </a:lnSpc>
              <a:defRPr sz="1600">
                <a:solidFill>
                  <a:schemeClr val="tx1"/>
                </a:solidFill>
              </a:defRPr>
            </a:lvl2pPr>
            <a:lvl3pPr marL="463550" indent="-231775">
              <a:lnSpc>
                <a:spcPts val="1600"/>
              </a:lnSpc>
              <a:defRPr sz="1400">
                <a:solidFill>
                  <a:schemeClr val="tx1"/>
                </a:solidFill>
              </a:defRPr>
            </a:lvl3pPr>
            <a:lvl4pPr marL="682625" indent="-219075">
              <a:lnSpc>
                <a:spcPts val="1400"/>
              </a:lnSpc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/>
              <a:t>24-Jan-2018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r>
              <a:rPr lang="en-US"/>
              <a:t>ADM Automation Awarene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pPr algn="r"/>
            <a:fld id="{DD205EFF-948D-4AF6-B54C-65639188FB5F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971516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7">
            <a:extLst>
              <a:ext uri="{FF2B5EF4-FFF2-40B4-BE49-F238E27FC236}">
                <a16:creationId xmlns:a16="http://schemas.microsoft.com/office/drawing/2014/main" id="{218E0C47-FBAF-440E-A6A0-9D14AE6071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12192000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0BF72C50-3F98-41E6-A3C8-32663046C69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712546" y="404813"/>
            <a:ext cx="3640038" cy="799873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lnSpc>
                <a:spcPts val="1800"/>
              </a:lnSpc>
              <a:defRPr sz="1600" b="1">
                <a:solidFill>
                  <a:schemeClr val="accent3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698415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17592" y="1430234"/>
            <a:ext cx="3008302" cy="501101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>
                <a:solidFill>
                  <a:schemeClr val="tx1"/>
                </a:solidFill>
              </a:defRPr>
            </a:lvl1pPr>
            <a:lvl2pPr marL="231775" indent="-227013">
              <a:lnSpc>
                <a:spcPts val="1800"/>
              </a:lnSpc>
              <a:defRPr sz="1600">
                <a:solidFill>
                  <a:schemeClr val="tx1"/>
                </a:solidFill>
              </a:defRPr>
            </a:lvl2pPr>
            <a:lvl3pPr marL="463550" indent="-231775">
              <a:lnSpc>
                <a:spcPts val="1600"/>
              </a:lnSpc>
              <a:defRPr sz="1400">
                <a:solidFill>
                  <a:schemeClr val="tx1"/>
                </a:solidFill>
              </a:defRPr>
            </a:lvl3pPr>
            <a:lvl4pPr marL="682625" indent="-219075">
              <a:lnSpc>
                <a:spcPts val="1400"/>
              </a:lnSpc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6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/>
              <a:t>24-Jan-2018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en-US"/>
              <a:t>ADM Automation Awarene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pPr algn="r"/>
            <a:fld id="{DD205EFF-948D-4AF6-B54C-65639188FB5F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89331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2 (fix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89563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phic 8">
            <a:extLst>
              <a:ext uri="{FF2B5EF4-FFF2-40B4-BE49-F238E27FC236}">
                <a16:creationId xmlns:a16="http://schemas.microsoft.com/office/drawing/2014/main" id="{BEB011C7-5067-4A7D-A5A2-FB9132A5D7A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t="45009" r="3903"/>
          <a:stretch>
            <a:fillRect/>
          </a:stretch>
        </p:blipFill>
        <p:spPr>
          <a:xfrm rot="20633129">
            <a:off x="6623457" y="-854950"/>
            <a:ext cx="5712032" cy="3331781"/>
          </a:xfrm>
          <a:custGeom>
            <a:avLst/>
            <a:gdLst>
              <a:gd name="connsiteX0" fmla="*/ 0 w 6455155"/>
              <a:gd name="connsiteY0" fmla="*/ 0 h 3765238"/>
              <a:gd name="connsiteX1" fmla="*/ 6455155 w 6455155"/>
              <a:gd name="connsiteY1" fmla="*/ 1864957 h 3765238"/>
              <a:gd name="connsiteX2" fmla="*/ 5906145 w 6455155"/>
              <a:gd name="connsiteY2" fmla="*/ 3765238 h 3765238"/>
              <a:gd name="connsiteX3" fmla="*/ 2661149 w 6455155"/>
              <a:gd name="connsiteY3" fmla="*/ 3765238 h 3765238"/>
              <a:gd name="connsiteX4" fmla="*/ 0 w 6455155"/>
              <a:gd name="connsiteY4" fmla="*/ 2996406 h 376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55155" h="3765238">
                <a:moveTo>
                  <a:pt x="0" y="0"/>
                </a:moveTo>
                <a:lnTo>
                  <a:pt x="6455155" y="1864957"/>
                </a:lnTo>
                <a:lnTo>
                  <a:pt x="5906145" y="3765238"/>
                </a:lnTo>
                <a:lnTo>
                  <a:pt x="2661149" y="3765238"/>
                </a:lnTo>
                <a:lnTo>
                  <a:pt x="0" y="2996406"/>
                </a:lnTo>
                <a:close/>
              </a:path>
            </a:pathLst>
          </a:custGeom>
        </p:spPr>
      </p:pic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0BF72C50-3F98-41E6-A3C8-32663046C69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712546" y="251439"/>
            <a:ext cx="3594084" cy="95324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17592" y="1430234"/>
            <a:ext cx="3008302" cy="501101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>
                <a:solidFill>
                  <a:schemeClr val="tx1"/>
                </a:solidFill>
              </a:defRPr>
            </a:lvl1pPr>
            <a:lvl2pPr marL="231775" indent="-227013">
              <a:lnSpc>
                <a:spcPts val="1800"/>
              </a:lnSpc>
              <a:defRPr sz="1600">
                <a:solidFill>
                  <a:schemeClr val="tx1"/>
                </a:solidFill>
              </a:defRPr>
            </a:lvl2pPr>
            <a:lvl3pPr marL="463550" indent="-231775">
              <a:lnSpc>
                <a:spcPts val="1600"/>
              </a:lnSpc>
              <a:defRPr sz="1400">
                <a:solidFill>
                  <a:schemeClr val="tx1"/>
                </a:solidFill>
              </a:defRPr>
            </a:lvl3pPr>
            <a:lvl4pPr marL="682625" indent="-219075">
              <a:lnSpc>
                <a:spcPts val="1400"/>
              </a:lnSpc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18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36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/>
              <a:t>24-Jan-2018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en-US"/>
              <a:t>ADM Automation Awarenes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pPr algn="r"/>
            <a:fld id="{DD205EFF-948D-4AF6-B54C-65639188FB5F}" type="slidenum">
              <a:rPr lang="en-US" smtClean="0"/>
              <a:pPr algn="r"/>
              <a:t>‹#›</a:t>
            </a:fld>
            <a:endParaRPr lang="en-US" dirty="0"/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68760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520237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0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37303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1001227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559286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341256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341256" cy="74398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341256" cy="743987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341256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48229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3673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40052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4329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902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3375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2292" name="AutoShape 4"/>
          <p:cNvSpPr>
            <a:spLocks noChangeAspect="1" noChangeArrowheads="1" noTextEdit="1"/>
          </p:cNvSpPr>
          <p:nvPr userDrawn="1"/>
        </p:nvSpPr>
        <p:spPr bwMode="auto">
          <a:xfrm>
            <a:off x="-7302500" y="2698750"/>
            <a:ext cx="6261100" cy="415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33868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9">
            <a:extLst>
              <a:ext uri="{FF2B5EF4-FFF2-40B4-BE49-F238E27FC236}">
                <a16:creationId xmlns:a16="http://schemas.microsoft.com/office/drawing/2014/main" id="{F28BC1D5-366F-454F-B964-C24C149791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8823521" y="-1667562"/>
            <a:ext cx="1706401" cy="5030555"/>
          </a:xfrm>
          <a:prstGeom prst="rect">
            <a:avLst/>
          </a:prstGeom>
        </p:spPr>
      </p:pic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32047331-01BE-47AE-BC0C-B787B1E9553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98131" y="295729"/>
            <a:ext cx="2927906" cy="8763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1600" b="1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CA70D5E4-F0EE-4368-A09C-60021E85A0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6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6477232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1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7">
            <a:hlinkClick r:id="rId6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266537" y="6555971"/>
            <a:ext cx="3111908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n-lt"/>
                <a:ea typeface="+mn-ea"/>
                <a:cs typeface="Arial" panose="020B0604020202020204" pitchFamily="34" charset="0"/>
              </a:rPr>
              <a:t>Automation Workshop </a:t>
            </a:r>
          </a:p>
        </p:txBody>
      </p:sp>
      <p:sp>
        <p:nvSpPr>
          <p:cNvPr id="23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220981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5 (Image placeholder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5D6B527-14EF-4F30-9C9C-691EC4327E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98310" y="-1588"/>
            <a:ext cx="7893690" cy="6859588"/>
          </a:xfrm>
          <a:solidFill>
            <a:schemeClr val="bg2">
              <a:lumMod val="9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83CBA49-BBF9-4CF0-9E0B-FF67BA1496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3068960"/>
            <a:ext cx="3671732" cy="863600"/>
          </a:xfrm>
        </p:spPr>
        <p:txBody>
          <a:bodyPr lIns="0" tIns="0" rIns="0" bIns="0" anchor="b">
            <a:normAutofit/>
          </a:bodyPr>
          <a:lstStyle>
            <a:lvl1pPr>
              <a:lnSpc>
                <a:spcPts val="3000"/>
              </a:lnSpc>
              <a:defRPr sz="2600">
                <a:solidFill>
                  <a:srgbClr val="0070AD"/>
                </a:solidFill>
              </a:defRPr>
            </a:lvl1pPr>
            <a:lvl2pPr>
              <a:defRPr sz="2400">
                <a:solidFill>
                  <a:srgbClr val="0070AD"/>
                </a:solidFill>
              </a:defRPr>
            </a:lvl2pPr>
          </a:lstStyle>
          <a:p>
            <a:pPr lvl="0"/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F4C94DDB-5E07-4F17-ABAA-3E9C5E8683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4040163"/>
            <a:ext cx="3671732" cy="1189037"/>
          </a:xfrm>
        </p:spPr>
        <p:txBody>
          <a:bodyPr lIns="0" tIns="0" rIns="0" bIns="0">
            <a:normAutofit/>
          </a:bodyPr>
          <a:lstStyle>
            <a:lvl1pPr>
              <a:lnSpc>
                <a:spcPts val="1800"/>
              </a:lnSpc>
              <a:defRPr sz="1600">
                <a:solidFill>
                  <a:srgbClr val="0070AD"/>
                </a:solidFill>
              </a:defRPr>
            </a:lvl1pPr>
            <a:lvl2pPr>
              <a:defRPr sz="1600">
                <a:solidFill>
                  <a:srgbClr val="0070AD"/>
                </a:solidFill>
              </a:defRPr>
            </a:lvl2pPr>
          </a:lstStyle>
          <a:p>
            <a:pPr lvl="0"/>
            <a:r>
              <a:rPr lang="en-US" dirty="0"/>
              <a:t>Click to insert presenter, location, and date</a:t>
            </a:r>
            <a:endParaRPr lang="pt-PT" dirty="0"/>
          </a:p>
        </p:txBody>
      </p:sp>
      <p:pic>
        <p:nvPicPr>
          <p:cNvPr id="5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8" y="404813"/>
            <a:ext cx="22860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737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634">
          <p15:clr>
            <a:srgbClr val="FBAE40"/>
          </p15:clr>
        </p15:guide>
        <p15:guide id="3" pos="7219">
          <p15:clr>
            <a:srgbClr val="FBAE40"/>
          </p15:clr>
        </p15:guide>
        <p15:guide id="4" orient="horz" pos="2614">
          <p15:clr>
            <a:srgbClr val="FBAE40"/>
          </p15:clr>
        </p15:guide>
        <p15:guide id="5" orient="horz" pos="3203">
          <p15:clr>
            <a:srgbClr val="FBAE40"/>
          </p15:clr>
        </p15:guide>
        <p15:guide id="6" orient="horz" pos="3952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IG Title + Subtitle CENTERED FULL WIDTH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1238703" y="746482"/>
            <a:ext cx="9714594" cy="2119574"/>
          </a:xfrm>
          <a:prstGeom prst="rect">
            <a:avLst/>
          </a:prstGeom>
        </p:spPr>
        <p:txBody>
          <a:bodyPr/>
          <a:lstStyle>
            <a:lvl1pPr algn="ctr">
              <a:defRPr sz="4400" b="1" i="0" kern="0" spc="-120" baseline="0">
                <a:solidFill>
                  <a:schemeClr val="tx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38703" y="408344"/>
            <a:ext cx="9714594" cy="3381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="1" i="0">
                <a:solidFill>
                  <a:schemeClr val="tx1"/>
                </a:solidFill>
                <a:latin typeface="Source Sans Pro ExtraLight" charset="0"/>
                <a:ea typeface="Source Sans Pro ExtraLight" charset="0"/>
                <a:cs typeface="Source Sans Pro ExtraLight" charset="0"/>
              </a:defRPr>
            </a:lvl1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 Goes </a:t>
            </a:r>
            <a:r>
              <a:rPr lang="de-DE" dirty="0" err="1"/>
              <a:t>Here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2474" y="6492875"/>
            <a:ext cx="554704" cy="365125"/>
          </a:xfrm>
          <a:prstGeom prst="rect">
            <a:avLst/>
          </a:prstGeom>
        </p:spPr>
        <p:txBody>
          <a:bodyPr anchor="ctr"/>
          <a:lstStyle>
            <a:lvl1pPr algn="r">
              <a:defRPr sz="12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936C95AE-7298-45E1-9514-94AFF5BED89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10401658" y="473107"/>
            <a:ext cx="1358011" cy="357195"/>
            <a:chOff x="1807201" y="3651744"/>
            <a:chExt cx="5344030" cy="1405631"/>
          </a:xfrm>
        </p:grpSpPr>
        <p:grpSp>
          <p:nvGrpSpPr>
            <p:cNvPr id="27" name="Group 26"/>
            <p:cNvGrpSpPr/>
            <p:nvPr userDrawn="1"/>
          </p:nvGrpSpPr>
          <p:grpSpPr>
            <a:xfrm>
              <a:off x="1807201" y="3707402"/>
              <a:ext cx="3700799" cy="1294316"/>
              <a:chOff x="0" y="1296988"/>
              <a:chExt cx="12192001" cy="4264025"/>
            </a:xfrm>
            <a:solidFill>
              <a:schemeClr val="tx1">
                <a:lumMod val="75000"/>
              </a:schemeClr>
            </a:solidFill>
          </p:grpSpPr>
          <p:sp>
            <p:nvSpPr>
              <p:cNvPr id="30" name="Freeform 29"/>
              <p:cNvSpPr>
                <a:spLocks noEditPoints="1"/>
              </p:cNvSpPr>
              <p:nvPr/>
            </p:nvSpPr>
            <p:spPr bwMode="auto">
              <a:xfrm>
                <a:off x="0" y="1296988"/>
                <a:ext cx="4594225" cy="4264025"/>
              </a:xfrm>
              <a:custGeom>
                <a:avLst/>
                <a:gdLst>
                  <a:gd name="T0" fmla="*/ 1847 w 1847"/>
                  <a:gd name="T1" fmla="*/ 992 h 1714"/>
                  <a:gd name="T2" fmla="*/ 1334 w 1847"/>
                  <a:gd name="T3" fmla="*/ 1311 h 1714"/>
                  <a:gd name="T4" fmla="*/ 1172 w 1847"/>
                  <a:gd name="T5" fmla="*/ 1714 h 1714"/>
                  <a:gd name="T6" fmla="*/ 930 w 1847"/>
                  <a:gd name="T7" fmla="*/ 1557 h 1714"/>
                  <a:gd name="T8" fmla="*/ 1066 w 1847"/>
                  <a:gd name="T9" fmla="*/ 1215 h 1714"/>
                  <a:gd name="T10" fmla="*/ 866 w 1847"/>
                  <a:gd name="T11" fmla="*/ 1111 h 1714"/>
                  <a:gd name="T12" fmla="*/ 382 w 1847"/>
                  <a:gd name="T13" fmla="*/ 1438 h 1714"/>
                  <a:gd name="T14" fmla="*/ 0 w 1847"/>
                  <a:gd name="T15" fmla="*/ 1102 h 1714"/>
                  <a:gd name="T16" fmla="*/ 420 w 1847"/>
                  <a:gd name="T17" fmla="*/ 729 h 1714"/>
                  <a:gd name="T18" fmla="*/ 700 w 1847"/>
                  <a:gd name="T19" fmla="*/ 783 h 1714"/>
                  <a:gd name="T20" fmla="*/ 876 w 1847"/>
                  <a:gd name="T21" fmla="*/ 345 h 1714"/>
                  <a:gd name="T22" fmla="*/ 491 w 1847"/>
                  <a:gd name="T23" fmla="*/ 273 h 1714"/>
                  <a:gd name="T24" fmla="*/ 325 w 1847"/>
                  <a:gd name="T25" fmla="*/ 382 h 1714"/>
                  <a:gd name="T26" fmla="*/ 420 w 1847"/>
                  <a:gd name="T27" fmla="*/ 460 h 1714"/>
                  <a:gd name="T28" fmla="*/ 543 w 1847"/>
                  <a:gd name="T29" fmla="*/ 411 h 1714"/>
                  <a:gd name="T30" fmla="*/ 665 w 1847"/>
                  <a:gd name="T31" fmla="*/ 596 h 1714"/>
                  <a:gd name="T32" fmla="*/ 406 w 1847"/>
                  <a:gd name="T33" fmla="*/ 695 h 1714"/>
                  <a:gd name="T34" fmla="*/ 78 w 1847"/>
                  <a:gd name="T35" fmla="*/ 382 h 1714"/>
                  <a:gd name="T36" fmla="*/ 467 w 1847"/>
                  <a:gd name="T37" fmla="*/ 26 h 1714"/>
                  <a:gd name="T38" fmla="*/ 1011 w 1847"/>
                  <a:gd name="T39" fmla="*/ 112 h 1714"/>
                  <a:gd name="T40" fmla="*/ 1272 w 1847"/>
                  <a:gd name="T41" fmla="*/ 0 h 1714"/>
                  <a:gd name="T42" fmla="*/ 1329 w 1847"/>
                  <a:gd name="T43" fmla="*/ 161 h 1714"/>
                  <a:gd name="T44" fmla="*/ 1192 w 1847"/>
                  <a:gd name="T45" fmla="*/ 318 h 1714"/>
                  <a:gd name="T46" fmla="*/ 957 w 1847"/>
                  <a:gd name="T47" fmla="*/ 904 h 1714"/>
                  <a:gd name="T48" fmla="*/ 1149 w 1847"/>
                  <a:gd name="T49" fmla="*/ 1011 h 1714"/>
                  <a:gd name="T50" fmla="*/ 1498 w 1847"/>
                  <a:gd name="T51" fmla="*/ 148 h 1714"/>
                  <a:gd name="T52" fmla="*/ 1806 w 1847"/>
                  <a:gd name="T53" fmla="*/ 148 h 1714"/>
                  <a:gd name="T54" fmla="*/ 1415 w 1847"/>
                  <a:gd name="T55" fmla="*/ 1111 h 1714"/>
                  <a:gd name="T56" fmla="*/ 1744 w 1847"/>
                  <a:gd name="T57" fmla="*/ 917 h 1714"/>
                  <a:gd name="T58" fmla="*/ 1847 w 1847"/>
                  <a:gd name="T59" fmla="*/ 992 h 1714"/>
                  <a:gd name="T60" fmla="*/ 608 w 1847"/>
                  <a:gd name="T61" fmla="*/ 1000 h 1714"/>
                  <a:gd name="T62" fmla="*/ 429 w 1847"/>
                  <a:gd name="T63" fmla="*/ 968 h 1714"/>
                  <a:gd name="T64" fmla="*/ 259 w 1847"/>
                  <a:gd name="T65" fmla="*/ 1092 h 1714"/>
                  <a:gd name="T66" fmla="*/ 387 w 1847"/>
                  <a:gd name="T67" fmla="*/ 1189 h 1714"/>
                  <a:gd name="T68" fmla="*/ 608 w 1847"/>
                  <a:gd name="T69" fmla="*/ 1000 h 17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847" h="1714">
                    <a:moveTo>
                      <a:pt x="1847" y="992"/>
                    </a:moveTo>
                    <a:cubicBezTo>
                      <a:pt x="1704" y="1253"/>
                      <a:pt x="1581" y="1358"/>
                      <a:pt x="1334" y="1311"/>
                    </a:cubicBezTo>
                    <a:cubicBezTo>
                      <a:pt x="1172" y="1714"/>
                      <a:pt x="1172" y="1714"/>
                      <a:pt x="1172" y="1714"/>
                    </a:cubicBezTo>
                    <a:cubicBezTo>
                      <a:pt x="930" y="1557"/>
                      <a:pt x="930" y="1557"/>
                      <a:pt x="930" y="1557"/>
                    </a:cubicBezTo>
                    <a:cubicBezTo>
                      <a:pt x="1066" y="1215"/>
                      <a:pt x="1066" y="1215"/>
                      <a:pt x="1066" y="1215"/>
                    </a:cubicBezTo>
                    <a:cubicBezTo>
                      <a:pt x="999" y="1182"/>
                      <a:pt x="942" y="1149"/>
                      <a:pt x="866" y="1111"/>
                    </a:cubicBezTo>
                    <a:cubicBezTo>
                      <a:pt x="774" y="1277"/>
                      <a:pt x="640" y="1438"/>
                      <a:pt x="382" y="1438"/>
                    </a:cubicBezTo>
                    <a:cubicBezTo>
                      <a:pt x="140" y="1438"/>
                      <a:pt x="0" y="1282"/>
                      <a:pt x="0" y="1102"/>
                    </a:cubicBezTo>
                    <a:cubicBezTo>
                      <a:pt x="0" y="923"/>
                      <a:pt x="135" y="729"/>
                      <a:pt x="420" y="729"/>
                    </a:cubicBezTo>
                    <a:cubicBezTo>
                      <a:pt x="515" y="729"/>
                      <a:pt x="610" y="752"/>
                      <a:pt x="700" y="783"/>
                    </a:cubicBezTo>
                    <a:cubicBezTo>
                      <a:pt x="876" y="345"/>
                      <a:pt x="876" y="345"/>
                      <a:pt x="876" y="345"/>
                    </a:cubicBezTo>
                    <a:cubicBezTo>
                      <a:pt x="717" y="328"/>
                      <a:pt x="615" y="273"/>
                      <a:pt x="491" y="273"/>
                    </a:cubicBezTo>
                    <a:cubicBezTo>
                      <a:pt x="351" y="273"/>
                      <a:pt x="325" y="342"/>
                      <a:pt x="325" y="382"/>
                    </a:cubicBezTo>
                    <a:cubicBezTo>
                      <a:pt x="325" y="439"/>
                      <a:pt x="370" y="460"/>
                      <a:pt x="420" y="460"/>
                    </a:cubicBezTo>
                    <a:cubicBezTo>
                      <a:pt x="496" y="460"/>
                      <a:pt x="543" y="411"/>
                      <a:pt x="543" y="411"/>
                    </a:cubicBezTo>
                    <a:cubicBezTo>
                      <a:pt x="665" y="596"/>
                      <a:pt x="665" y="596"/>
                      <a:pt x="665" y="596"/>
                    </a:cubicBezTo>
                    <a:cubicBezTo>
                      <a:pt x="665" y="596"/>
                      <a:pt x="565" y="695"/>
                      <a:pt x="406" y="695"/>
                    </a:cubicBezTo>
                    <a:cubicBezTo>
                      <a:pt x="242" y="695"/>
                      <a:pt x="78" y="593"/>
                      <a:pt x="78" y="382"/>
                    </a:cubicBezTo>
                    <a:cubicBezTo>
                      <a:pt x="78" y="221"/>
                      <a:pt x="176" y="26"/>
                      <a:pt x="467" y="26"/>
                    </a:cubicBezTo>
                    <a:cubicBezTo>
                      <a:pt x="667" y="26"/>
                      <a:pt x="843" y="119"/>
                      <a:pt x="1011" y="112"/>
                    </a:cubicBezTo>
                    <a:cubicBezTo>
                      <a:pt x="1075" y="48"/>
                      <a:pt x="1163" y="0"/>
                      <a:pt x="1272" y="0"/>
                    </a:cubicBezTo>
                    <a:cubicBezTo>
                      <a:pt x="1329" y="161"/>
                      <a:pt x="1329" y="161"/>
                      <a:pt x="1329" y="161"/>
                    </a:cubicBezTo>
                    <a:cubicBezTo>
                      <a:pt x="1329" y="161"/>
                      <a:pt x="1239" y="204"/>
                      <a:pt x="1192" y="318"/>
                    </a:cubicBezTo>
                    <a:cubicBezTo>
                      <a:pt x="957" y="904"/>
                      <a:pt x="957" y="904"/>
                      <a:pt x="957" y="904"/>
                    </a:cubicBezTo>
                    <a:cubicBezTo>
                      <a:pt x="1025" y="942"/>
                      <a:pt x="1085" y="973"/>
                      <a:pt x="1149" y="1011"/>
                    </a:cubicBezTo>
                    <a:cubicBezTo>
                      <a:pt x="1498" y="148"/>
                      <a:pt x="1498" y="148"/>
                      <a:pt x="1498" y="148"/>
                    </a:cubicBezTo>
                    <a:cubicBezTo>
                      <a:pt x="1806" y="148"/>
                      <a:pt x="1806" y="148"/>
                      <a:pt x="1806" y="148"/>
                    </a:cubicBezTo>
                    <a:cubicBezTo>
                      <a:pt x="1415" y="1111"/>
                      <a:pt x="1415" y="1111"/>
                      <a:pt x="1415" y="1111"/>
                    </a:cubicBezTo>
                    <a:cubicBezTo>
                      <a:pt x="1500" y="1111"/>
                      <a:pt x="1586" y="1147"/>
                      <a:pt x="1744" y="917"/>
                    </a:cubicBezTo>
                    <a:cubicBezTo>
                      <a:pt x="1783" y="921"/>
                      <a:pt x="1832" y="957"/>
                      <a:pt x="1847" y="992"/>
                    </a:cubicBezTo>
                    <a:close/>
                    <a:moveTo>
                      <a:pt x="608" y="1000"/>
                    </a:moveTo>
                    <a:cubicBezTo>
                      <a:pt x="544" y="980"/>
                      <a:pt x="481" y="968"/>
                      <a:pt x="429" y="968"/>
                    </a:cubicBezTo>
                    <a:cubicBezTo>
                      <a:pt x="306" y="968"/>
                      <a:pt x="259" y="1035"/>
                      <a:pt x="259" y="1092"/>
                    </a:cubicBezTo>
                    <a:cubicBezTo>
                      <a:pt x="259" y="1151"/>
                      <a:pt x="318" y="1189"/>
                      <a:pt x="387" y="1189"/>
                    </a:cubicBezTo>
                    <a:cubicBezTo>
                      <a:pt x="444" y="1189"/>
                      <a:pt x="536" y="1154"/>
                      <a:pt x="608" y="10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30"/>
              <p:cNvSpPr>
                <a:spLocks noEditPoints="1"/>
              </p:cNvSpPr>
              <p:nvPr/>
            </p:nvSpPr>
            <p:spPr bwMode="auto">
              <a:xfrm>
                <a:off x="4251325" y="2501901"/>
                <a:ext cx="2657475" cy="2339975"/>
              </a:xfrm>
              <a:custGeom>
                <a:avLst/>
                <a:gdLst>
                  <a:gd name="T0" fmla="*/ 1068 w 1068"/>
                  <a:gd name="T1" fmla="*/ 508 h 941"/>
                  <a:gd name="T2" fmla="*/ 385 w 1068"/>
                  <a:gd name="T3" fmla="*/ 941 h 941"/>
                  <a:gd name="T4" fmla="*/ 0 w 1068"/>
                  <a:gd name="T5" fmla="*/ 620 h 941"/>
                  <a:gd name="T6" fmla="*/ 562 w 1068"/>
                  <a:gd name="T7" fmla="*/ 0 h 941"/>
                  <a:gd name="T8" fmla="*/ 843 w 1068"/>
                  <a:gd name="T9" fmla="*/ 383 h 941"/>
                  <a:gd name="T10" fmla="*/ 290 w 1068"/>
                  <a:gd name="T11" fmla="*/ 603 h 941"/>
                  <a:gd name="T12" fmla="*/ 475 w 1068"/>
                  <a:gd name="T13" fmla="*/ 753 h 941"/>
                  <a:gd name="T14" fmla="*/ 964 w 1068"/>
                  <a:gd name="T15" fmla="*/ 433 h 941"/>
                  <a:gd name="T16" fmla="*/ 1068 w 1068"/>
                  <a:gd name="T17" fmla="*/ 508 h 941"/>
                  <a:gd name="T18" fmla="*/ 342 w 1068"/>
                  <a:gd name="T19" fmla="*/ 437 h 941"/>
                  <a:gd name="T20" fmla="*/ 577 w 1068"/>
                  <a:gd name="T21" fmla="*/ 319 h 941"/>
                  <a:gd name="T22" fmla="*/ 546 w 1068"/>
                  <a:gd name="T23" fmla="*/ 242 h 941"/>
                  <a:gd name="T24" fmla="*/ 342 w 1068"/>
                  <a:gd name="T25" fmla="*/ 437 h 9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68" h="941">
                    <a:moveTo>
                      <a:pt x="1068" y="508"/>
                    </a:moveTo>
                    <a:cubicBezTo>
                      <a:pt x="951" y="715"/>
                      <a:pt x="735" y="941"/>
                      <a:pt x="385" y="941"/>
                    </a:cubicBezTo>
                    <a:cubicBezTo>
                      <a:pt x="125" y="941"/>
                      <a:pt x="0" y="814"/>
                      <a:pt x="0" y="620"/>
                    </a:cubicBezTo>
                    <a:cubicBezTo>
                      <a:pt x="0" y="397"/>
                      <a:pt x="164" y="0"/>
                      <a:pt x="562" y="0"/>
                    </a:cubicBezTo>
                    <a:cubicBezTo>
                      <a:pt x="766" y="0"/>
                      <a:pt x="957" y="121"/>
                      <a:pt x="843" y="383"/>
                    </a:cubicBezTo>
                    <a:cubicBezTo>
                      <a:pt x="778" y="530"/>
                      <a:pt x="641" y="649"/>
                      <a:pt x="290" y="603"/>
                    </a:cubicBezTo>
                    <a:cubicBezTo>
                      <a:pt x="290" y="603"/>
                      <a:pt x="256" y="753"/>
                      <a:pt x="475" y="753"/>
                    </a:cubicBezTo>
                    <a:cubicBezTo>
                      <a:pt x="655" y="753"/>
                      <a:pt x="843" y="651"/>
                      <a:pt x="964" y="433"/>
                    </a:cubicBezTo>
                    <a:cubicBezTo>
                      <a:pt x="1004" y="437"/>
                      <a:pt x="1052" y="473"/>
                      <a:pt x="1068" y="508"/>
                    </a:cubicBezTo>
                    <a:close/>
                    <a:moveTo>
                      <a:pt x="342" y="437"/>
                    </a:moveTo>
                    <a:cubicBezTo>
                      <a:pt x="498" y="463"/>
                      <a:pt x="546" y="397"/>
                      <a:pt x="577" y="319"/>
                    </a:cubicBezTo>
                    <a:cubicBezTo>
                      <a:pt x="589" y="288"/>
                      <a:pt x="605" y="242"/>
                      <a:pt x="546" y="242"/>
                    </a:cubicBezTo>
                    <a:cubicBezTo>
                      <a:pt x="427" y="242"/>
                      <a:pt x="342" y="437"/>
                      <a:pt x="342" y="4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31"/>
              <p:cNvSpPr>
                <a:spLocks/>
              </p:cNvSpPr>
              <p:nvPr/>
            </p:nvSpPr>
            <p:spPr bwMode="auto">
              <a:xfrm>
                <a:off x="6269038" y="1704976"/>
                <a:ext cx="1984375" cy="3136900"/>
              </a:xfrm>
              <a:custGeom>
                <a:avLst/>
                <a:gdLst>
                  <a:gd name="T0" fmla="*/ 798 w 798"/>
                  <a:gd name="T1" fmla="*/ 828 h 1261"/>
                  <a:gd name="T2" fmla="*/ 281 w 798"/>
                  <a:gd name="T3" fmla="*/ 1261 h 1261"/>
                  <a:gd name="T4" fmla="*/ 126 w 798"/>
                  <a:gd name="T5" fmla="*/ 814 h 1261"/>
                  <a:gd name="T6" fmla="*/ 454 w 798"/>
                  <a:gd name="T7" fmla="*/ 0 h 1261"/>
                  <a:gd name="T8" fmla="*/ 760 w 798"/>
                  <a:gd name="T9" fmla="*/ 0 h 1261"/>
                  <a:gd name="T10" fmla="*/ 416 w 798"/>
                  <a:gd name="T11" fmla="*/ 854 h 1261"/>
                  <a:gd name="T12" fmla="*/ 394 w 798"/>
                  <a:gd name="T13" fmla="*/ 1073 h 1261"/>
                  <a:gd name="T14" fmla="*/ 694 w 798"/>
                  <a:gd name="T15" fmla="*/ 753 h 1261"/>
                  <a:gd name="T16" fmla="*/ 798 w 798"/>
                  <a:gd name="T17" fmla="*/ 828 h 1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8" h="1261">
                    <a:moveTo>
                      <a:pt x="798" y="828"/>
                    </a:moveTo>
                    <a:cubicBezTo>
                      <a:pt x="668" y="1058"/>
                      <a:pt x="487" y="1261"/>
                      <a:pt x="281" y="1261"/>
                    </a:cubicBezTo>
                    <a:cubicBezTo>
                      <a:pt x="119" y="1261"/>
                      <a:pt x="0" y="1127"/>
                      <a:pt x="126" y="814"/>
                    </a:cubicBezTo>
                    <a:cubicBezTo>
                      <a:pt x="454" y="0"/>
                      <a:pt x="454" y="0"/>
                      <a:pt x="454" y="0"/>
                    </a:cubicBezTo>
                    <a:cubicBezTo>
                      <a:pt x="760" y="0"/>
                      <a:pt x="760" y="0"/>
                      <a:pt x="760" y="0"/>
                    </a:cubicBezTo>
                    <a:cubicBezTo>
                      <a:pt x="416" y="854"/>
                      <a:pt x="416" y="854"/>
                      <a:pt x="416" y="854"/>
                    </a:cubicBezTo>
                    <a:cubicBezTo>
                      <a:pt x="337" y="1052"/>
                      <a:pt x="366" y="1073"/>
                      <a:pt x="394" y="1073"/>
                    </a:cubicBezTo>
                    <a:cubicBezTo>
                      <a:pt x="457" y="1073"/>
                      <a:pt x="570" y="971"/>
                      <a:pt x="694" y="753"/>
                    </a:cubicBezTo>
                    <a:cubicBezTo>
                      <a:pt x="734" y="757"/>
                      <a:pt x="782" y="793"/>
                      <a:pt x="798" y="8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32"/>
              <p:cNvSpPr>
                <a:spLocks/>
              </p:cNvSpPr>
              <p:nvPr/>
            </p:nvSpPr>
            <p:spPr bwMode="auto">
              <a:xfrm>
                <a:off x="7612063" y="1704976"/>
                <a:ext cx="1987550" cy="3136900"/>
              </a:xfrm>
              <a:custGeom>
                <a:avLst/>
                <a:gdLst>
                  <a:gd name="T0" fmla="*/ 799 w 799"/>
                  <a:gd name="T1" fmla="*/ 828 h 1261"/>
                  <a:gd name="T2" fmla="*/ 282 w 799"/>
                  <a:gd name="T3" fmla="*/ 1261 h 1261"/>
                  <a:gd name="T4" fmla="*/ 127 w 799"/>
                  <a:gd name="T5" fmla="*/ 814 h 1261"/>
                  <a:gd name="T6" fmla="*/ 455 w 799"/>
                  <a:gd name="T7" fmla="*/ 0 h 1261"/>
                  <a:gd name="T8" fmla="*/ 761 w 799"/>
                  <a:gd name="T9" fmla="*/ 0 h 1261"/>
                  <a:gd name="T10" fmla="*/ 417 w 799"/>
                  <a:gd name="T11" fmla="*/ 854 h 1261"/>
                  <a:gd name="T12" fmla="*/ 394 w 799"/>
                  <a:gd name="T13" fmla="*/ 1073 h 1261"/>
                  <a:gd name="T14" fmla="*/ 695 w 799"/>
                  <a:gd name="T15" fmla="*/ 753 h 1261"/>
                  <a:gd name="T16" fmla="*/ 799 w 799"/>
                  <a:gd name="T17" fmla="*/ 828 h 1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9" h="1261">
                    <a:moveTo>
                      <a:pt x="799" y="828"/>
                    </a:moveTo>
                    <a:cubicBezTo>
                      <a:pt x="669" y="1058"/>
                      <a:pt x="488" y="1261"/>
                      <a:pt x="282" y="1261"/>
                    </a:cubicBezTo>
                    <a:cubicBezTo>
                      <a:pt x="120" y="1261"/>
                      <a:pt x="0" y="1127"/>
                      <a:pt x="127" y="814"/>
                    </a:cubicBezTo>
                    <a:cubicBezTo>
                      <a:pt x="455" y="0"/>
                      <a:pt x="455" y="0"/>
                      <a:pt x="455" y="0"/>
                    </a:cubicBezTo>
                    <a:cubicBezTo>
                      <a:pt x="761" y="0"/>
                      <a:pt x="761" y="0"/>
                      <a:pt x="761" y="0"/>
                    </a:cubicBezTo>
                    <a:cubicBezTo>
                      <a:pt x="417" y="854"/>
                      <a:pt x="417" y="854"/>
                      <a:pt x="417" y="854"/>
                    </a:cubicBezTo>
                    <a:cubicBezTo>
                      <a:pt x="337" y="1052"/>
                      <a:pt x="367" y="1073"/>
                      <a:pt x="394" y="1073"/>
                    </a:cubicBezTo>
                    <a:cubicBezTo>
                      <a:pt x="458" y="1073"/>
                      <a:pt x="571" y="971"/>
                      <a:pt x="695" y="753"/>
                    </a:cubicBezTo>
                    <a:cubicBezTo>
                      <a:pt x="735" y="757"/>
                      <a:pt x="783" y="793"/>
                      <a:pt x="799" y="8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33"/>
              <p:cNvSpPr>
                <a:spLocks noEditPoints="1"/>
              </p:cNvSpPr>
              <p:nvPr/>
            </p:nvSpPr>
            <p:spPr bwMode="auto">
              <a:xfrm>
                <a:off x="9282113" y="2501901"/>
                <a:ext cx="2909888" cy="2339975"/>
              </a:xfrm>
              <a:custGeom>
                <a:avLst/>
                <a:gdLst>
                  <a:gd name="T0" fmla="*/ 1170 w 1170"/>
                  <a:gd name="T1" fmla="*/ 508 h 941"/>
                  <a:gd name="T2" fmla="*/ 745 w 1170"/>
                  <a:gd name="T3" fmla="*/ 776 h 941"/>
                  <a:gd name="T4" fmla="*/ 366 w 1170"/>
                  <a:gd name="T5" fmla="*/ 941 h 941"/>
                  <a:gd name="T6" fmla="*/ 0 w 1170"/>
                  <a:gd name="T7" fmla="*/ 585 h 941"/>
                  <a:gd name="T8" fmla="*/ 551 w 1170"/>
                  <a:gd name="T9" fmla="*/ 0 h 941"/>
                  <a:gd name="T10" fmla="*/ 909 w 1170"/>
                  <a:gd name="T11" fmla="*/ 347 h 941"/>
                  <a:gd name="T12" fmla="*/ 843 w 1170"/>
                  <a:gd name="T13" fmla="*/ 632 h 941"/>
                  <a:gd name="T14" fmla="*/ 1066 w 1170"/>
                  <a:gd name="T15" fmla="*/ 433 h 941"/>
                  <a:gd name="T16" fmla="*/ 1170 w 1170"/>
                  <a:gd name="T17" fmla="*/ 508 h 941"/>
                  <a:gd name="T18" fmla="*/ 470 w 1170"/>
                  <a:gd name="T19" fmla="*/ 674 h 941"/>
                  <a:gd name="T20" fmla="*/ 432 w 1170"/>
                  <a:gd name="T21" fmla="*/ 570 h 941"/>
                  <a:gd name="T22" fmla="*/ 587 w 1170"/>
                  <a:gd name="T23" fmla="*/ 421 h 941"/>
                  <a:gd name="T24" fmla="*/ 613 w 1170"/>
                  <a:gd name="T25" fmla="*/ 285 h 941"/>
                  <a:gd name="T26" fmla="*/ 548 w 1170"/>
                  <a:gd name="T27" fmla="*/ 198 h 941"/>
                  <a:gd name="T28" fmla="*/ 295 w 1170"/>
                  <a:gd name="T29" fmla="*/ 655 h 941"/>
                  <a:gd name="T30" fmla="*/ 361 w 1170"/>
                  <a:gd name="T31" fmla="*/ 743 h 941"/>
                  <a:gd name="T32" fmla="*/ 470 w 1170"/>
                  <a:gd name="T33" fmla="*/ 674 h 9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70" h="941">
                    <a:moveTo>
                      <a:pt x="1170" y="508"/>
                    </a:moveTo>
                    <a:cubicBezTo>
                      <a:pt x="1080" y="662"/>
                      <a:pt x="921" y="779"/>
                      <a:pt x="745" y="776"/>
                    </a:cubicBezTo>
                    <a:cubicBezTo>
                      <a:pt x="655" y="872"/>
                      <a:pt x="529" y="941"/>
                      <a:pt x="366" y="941"/>
                    </a:cubicBezTo>
                    <a:cubicBezTo>
                      <a:pt x="124" y="941"/>
                      <a:pt x="0" y="791"/>
                      <a:pt x="0" y="585"/>
                    </a:cubicBezTo>
                    <a:cubicBezTo>
                      <a:pt x="0" y="350"/>
                      <a:pt x="166" y="0"/>
                      <a:pt x="551" y="0"/>
                    </a:cubicBezTo>
                    <a:cubicBezTo>
                      <a:pt x="786" y="0"/>
                      <a:pt x="909" y="136"/>
                      <a:pt x="909" y="347"/>
                    </a:cubicBezTo>
                    <a:cubicBezTo>
                      <a:pt x="909" y="437"/>
                      <a:pt x="888" y="537"/>
                      <a:pt x="843" y="632"/>
                    </a:cubicBezTo>
                    <a:cubicBezTo>
                      <a:pt x="926" y="608"/>
                      <a:pt x="1004" y="541"/>
                      <a:pt x="1066" y="433"/>
                    </a:cubicBezTo>
                    <a:cubicBezTo>
                      <a:pt x="1106" y="437"/>
                      <a:pt x="1154" y="473"/>
                      <a:pt x="1170" y="508"/>
                    </a:cubicBezTo>
                    <a:close/>
                    <a:moveTo>
                      <a:pt x="470" y="674"/>
                    </a:moveTo>
                    <a:cubicBezTo>
                      <a:pt x="446" y="646"/>
                      <a:pt x="432" y="611"/>
                      <a:pt x="432" y="570"/>
                    </a:cubicBezTo>
                    <a:cubicBezTo>
                      <a:pt x="432" y="489"/>
                      <a:pt x="494" y="420"/>
                      <a:pt x="587" y="421"/>
                    </a:cubicBezTo>
                    <a:cubicBezTo>
                      <a:pt x="605" y="368"/>
                      <a:pt x="613" y="319"/>
                      <a:pt x="613" y="285"/>
                    </a:cubicBezTo>
                    <a:cubicBezTo>
                      <a:pt x="613" y="223"/>
                      <a:pt x="582" y="198"/>
                      <a:pt x="548" y="198"/>
                    </a:cubicBezTo>
                    <a:cubicBezTo>
                      <a:pt x="416" y="198"/>
                      <a:pt x="295" y="539"/>
                      <a:pt x="295" y="655"/>
                    </a:cubicBezTo>
                    <a:cubicBezTo>
                      <a:pt x="295" y="708"/>
                      <a:pt x="321" y="743"/>
                      <a:pt x="361" y="743"/>
                    </a:cubicBezTo>
                    <a:cubicBezTo>
                      <a:pt x="399" y="743"/>
                      <a:pt x="437" y="715"/>
                      <a:pt x="470" y="67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28" name="Oval 27"/>
            <p:cNvSpPr/>
            <p:nvPr userDrawn="1"/>
          </p:nvSpPr>
          <p:spPr>
            <a:xfrm>
              <a:off x="5745600" y="3651744"/>
              <a:ext cx="1405631" cy="140563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b="1" i="1" dirty="0">
                <a:latin typeface="Source Sans Pro Black" charset="0"/>
                <a:ea typeface="Source Sans Pro Black" charset="0"/>
                <a:cs typeface="Source Sans Pro Black" charset="0"/>
              </a:endParaRPr>
            </a:p>
          </p:txBody>
        </p:sp>
        <p:sp>
          <p:nvSpPr>
            <p:cNvPr id="29" name="Freeform 10"/>
            <p:cNvSpPr>
              <a:spLocks/>
            </p:cNvSpPr>
            <p:nvPr userDrawn="1"/>
          </p:nvSpPr>
          <p:spPr bwMode="auto">
            <a:xfrm>
              <a:off x="6128829" y="3976636"/>
              <a:ext cx="639170" cy="713707"/>
            </a:xfrm>
            <a:custGeom>
              <a:avLst/>
              <a:gdLst>
                <a:gd name="T0" fmla="*/ 0 w 1047"/>
                <a:gd name="T1" fmla="*/ 1169 h 1169"/>
                <a:gd name="T2" fmla="*/ 50 w 1047"/>
                <a:gd name="T3" fmla="*/ 941 h 1169"/>
                <a:gd name="T4" fmla="*/ 790 w 1047"/>
                <a:gd name="T5" fmla="*/ 350 h 1169"/>
                <a:gd name="T6" fmla="*/ 582 w 1047"/>
                <a:gd name="T7" fmla="*/ 216 h 1169"/>
                <a:gd name="T8" fmla="*/ 295 w 1047"/>
                <a:gd name="T9" fmla="*/ 319 h 1169"/>
                <a:gd name="T10" fmla="*/ 192 w 1047"/>
                <a:gd name="T11" fmla="*/ 143 h 1169"/>
                <a:gd name="T12" fmla="*/ 601 w 1047"/>
                <a:gd name="T13" fmla="*/ 0 h 1169"/>
                <a:gd name="T14" fmla="*/ 1047 w 1047"/>
                <a:gd name="T15" fmla="*/ 335 h 1169"/>
                <a:gd name="T16" fmla="*/ 444 w 1047"/>
                <a:gd name="T17" fmla="*/ 953 h 1169"/>
                <a:gd name="T18" fmla="*/ 914 w 1047"/>
                <a:gd name="T19" fmla="*/ 953 h 1169"/>
                <a:gd name="T20" fmla="*/ 867 w 1047"/>
                <a:gd name="T21" fmla="*/ 1169 h 1169"/>
                <a:gd name="T22" fmla="*/ 0 w 1047"/>
                <a:gd name="T23" fmla="*/ 1169 h 1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47" h="1169">
                  <a:moveTo>
                    <a:pt x="0" y="1169"/>
                  </a:moveTo>
                  <a:cubicBezTo>
                    <a:pt x="50" y="941"/>
                    <a:pt x="50" y="941"/>
                    <a:pt x="50" y="941"/>
                  </a:cubicBezTo>
                  <a:cubicBezTo>
                    <a:pt x="537" y="665"/>
                    <a:pt x="790" y="511"/>
                    <a:pt x="790" y="350"/>
                  </a:cubicBezTo>
                  <a:cubicBezTo>
                    <a:pt x="790" y="266"/>
                    <a:pt x="703" y="216"/>
                    <a:pt x="582" y="216"/>
                  </a:cubicBezTo>
                  <a:cubicBezTo>
                    <a:pt x="456" y="216"/>
                    <a:pt x="363" y="262"/>
                    <a:pt x="295" y="319"/>
                  </a:cubicBezTo>
                  <a:cubicBezTo>
                    <a:pt x="192" y="143"/>
                    <a:pt x="192" y="143"/>
                    <a:pt x="192" y="143"/>
                  </a:cubicBezTo>
                  <a:cubicBezTo>
                    <a:pt x="294" y="53"/>
                    <a:pt x="449" y="0"/>
                    <a:pt x="601" y="0"/>
                  </a:cubicBezTo>
                  <a:cubicBezTo>
                    <a:pt x="836" y="0"/>
                    <a:pt x="1047" y="115"/>
                    <a:pt x="1047" y="335"/>
                  </a:cubicBezTo>
                  <a:cubicBezTo>
                    <a:pt x="1047" y="561"/>
                    <a:pt x="809" y="758"/>
                    <a:pt x="444" y="953"/>
                  </a:cubicBezTo>
                  <a:cubicBezTo>
                    <a:pt x="914" y="953"/>
                    <a:pt x="914" y="953"/>
                    <a:pt x="914" y="953"/>
                  </a:cubicBezTo>
                  <a:cubicBezTo>
                    <a:pt x="867" y="1169"/>
                    <a:pt x="867" y="1169"/>
                    <a:pt x="867" y="1169"/>
                  </a:cubicBezTo>
                  <a:lnTo>
                    <a:pt x="0" y="116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87079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8" y="140159"/>
            <a:ext cx="11083532" cy="859536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>
              <a:lnSpc>
                <a:spcPts val="2892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45BA2BB-C90C-4689-BAC6-84C4A44D2A00}"/>
              </a:ext>
            </a:extLst>
          </p:cNvPr>
          <p:cNvSpPr/>
          <p:nvPr userDrawn="1"/>
        </p:nvSpPr>
        <p:spPr>
          <a:xfrm>
            <a:off x="11578358" y="6550968"/>
            <a:ext cx="38504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DD205EFF-948D-4AF6-B54C-65639188FB5F}" type="slidenum">
              <a:rPr lang="en-US" sz="9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‹#›</a:t>
            </a:fld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2957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112358785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9">
            <a:extLst>
              <a:ext uri="{FF2B5EF4-FFF2-40B4-BE49-F238E27FC236}">
                <a16:creationId xmlns:a16="http://schemas.microsoft.com/office/drawing/2014/main" id="{F28BC1D5-366F-454F-B964-C24C149791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8823521" y="-1667562"/>
            <a:ext cx="1706401" cy="5030555"/>
          </a:xfrm>
          <a:prstGeom prst="rect">
            <a:avLst/>
          </a:prstGeom>
        </p:spPr>
      </p:pic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32047331-01BE-47AE-BC0C-B787B1E9553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98131" y="295729"/>
            <a:ext cx="2927906" cy="8763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1600" b="1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CA70D5E4-F0EE-4368-A09C-60021E85A0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6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6477232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1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7">
            <a:hlinkClick r:id="rId6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266537" y="6555971"/>
            <a:ext cx="3111908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n-lt"/>
                <a:ea typeface="+mn-ea"/>
                <a:cs typeface="Arial" panose="020B0604020202020204" pitchFamily="34" charset="0"/>
              </a:rPr>
              <a:t>Automation Workshop </a:t>
            </a:r>
          </a:p>
        </p:txBody>
      </p:sp>
      <p:sp>
        <p:nvSpPr>
          <p:cNvPr id="23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670891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02725348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751091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3" pos="3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icture placeholder before 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8635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 5"/>
          <p:cNvSpPr>
            <a:spLocks/>
          </p:cNvSpPr>
          <p:nvPr userDrawn="1"/>
        </p:nvSpPr>
        <p:spPr bwMode="auto">
          <a:xfrm>
            <a:off x="1" y="2276840"/>
            <a:ext cx="5476802" cy="4581160"/>
          </a:xfrm>
          <a:custGeom>
            <a:avLst/>
            <a:gdLst>
              <a:gd name="T0" fmla="*/ 2024 w 2024"/>
              <a:gd name="T1" fmla="*/ 781 h 1692"/>
              <a:gd name="T2" fmla="*/ 2024 w 2024"/>
              <a:gd name="T3" fmla="*/ 881 h 1692"/>
              <a:gd name="T4" fmla="*/ 2018 w 2024"/>
              <a:gd name="T5" fmla="*/ 950 h 1692"/>
              <a:gd name="T6" fmla="*/ 1937 w 2024"/>
              <a:gd name="T7" fmla="*/ 1296 h 1692"/>
              <a:gd name="T8" fmla="*/ 1776 w 2024"/>
              <a:gd name="T9" fmla="*/ 1675 h 1692"/>
              <a:gd name="T10" fmla="*/ 1747 w 2024"/>
              <a:gd name="T11" fmla="*/ 1692 h 1692"/>
              <a:gd name="T12" fmla="*/ 16 w 2024"/>
              <a:gd name="T13" fmla="*/ 1692 h 1692"/>
              <a:gd name="T14" fmla="*/ 0 w 2024"/>
              <a:gd name="T15" fmla="*/ 1692 h 1692"/>
              <a:gd name="T16" fmla="*/ 0 w 2024"/>
              <a:gd name="T17" fmla="*/ 367 h 1692"/>
              <a:gd name="T18" fmla="*/ 10 w 2024"/>
              <a:gd name="T19" fmla="*/ 370 h 1692"/>
              <a:gd name="T20" fmla="*/ 245 w 2024"/>
              <a:gd name="T21" fmla="*/ 420 h 1692"/>
              <a:gd name="T22" fmla="*/ 487 w 2024"/>
              <a:gd name="T23" fmla="*/ 398 h 1692"/>
              <a:gd name="T24" fmla="*/ 905 w 2024"/>
              <a:gd name="T25" fmla="*/ 272 h 1692"/>
              <a:gd name="T26" fmla="*/ 1407 w 2024"/>
              <a:gd name="T27" fmla="*/ 38 h 1692"/>
              <a:gd name="T28" fmla="*/ 1477 w 2024"/>
              <a:gd name="T29" fmla="*/ 0 h 1692"/>
              <a:gd name="T30" fmla="*/ 1482 w 2024"/>
              <a:gd name="T31" fmla="*/ 0 h 1692"/>
              <a:gd name="T32" fmla="*/ 1491 w 2024"/>
              <a:gd name="T33" fmla="*/ 6 h 1692"/>
              <a:gd name="T34" fmla="*/ 1726 w 2024"/>
              <a:gd name="T35" fmla="*/ 180 h 1692"/>
              <a:gd name="T36" fmla="*/ 1896 w 2024"/>
              <a:gd name="T37" fmla="*/ 379 h 1692"/>
              <a:gd name="T38" fmla="*/ 2019 w 2024"/>
              <a:gd name="T39" fmla="*/ 730 h 1692"/>
              <a:gd name="T40" fmla="*/ 2024 w 2024"/>
              <a:gd name="T41" fmla="*/ 781 h 1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024" h="1692">
                <a:moveTo>
                  <a:pt x="2024" y="781"/>
                </a:moveTo>
                <a:cubicBezTo>
                  <a:pt x="2024" y="815"/>
                  <a:pt x="2024" y="848"/>
                  <a:pt x="2024" y="881"/>
                </a:cubicBezTo>
                <a:cubicBezTo>
                  <a:pt x="2022" y="904"/>
                  <a:pt x="2020" y="927"/>
                  <a:pt x="2018" y="950"/>
                </a:cubicBezTo>
                <a:cubicBezTo>
                  <a:pt x="2005" y="1069"/>
                  <a:pt x="1975" y="1183"/>
                  <a:pt x="1937" y="1296"/>
                </a:cubicBezTo>
                <a:cubicBezTo>
                  <a:pt x="1892" y="1426"/>
                  <a:pt x="1837" y="1552"/>
                  <a:pt x="1776" y="1675"/>
                </a:cubicBezTo>
                <a:cubicBezTo>
                  <a:pt x="1769" y="1688"/>
                  <a:pt x="1762" y="1692"/>
                  <a:pt x="1747" y="1692"/>
                </a:cubicBezTo>
                <a:cubicBezTo>
                  <a:pt x="1170" y="1692"/>
                  <a:pt x="593" y="1692"/>
                  <a:pt x="16" y="1692"/>
                </a:cubicBezTo>
                <a:cubicBezTo>
                  <a:pt x="11" y="1692"/>
                  <a:pt x="5" y="1692"/>
                  <a:pt x="0" y="1692"/>
                </a:cubicBezTo>
                <a:cubicBezTo>
                  <a:pt x="0" y="1250"/>
                  <a:pt x="0" y="808"/>
                  <a:pt x="0" y="367"/>
                </a:cubicBezTo>
                <a:cubicBezTo>
                  <a:pt x="3" y="368"/>
                  <a:pt x="7" y="369"/>
                  <a:pt x="10" y="370"/>
                </a:cubicBezTo>
                <a:cubicBezTo>
                  <a:pt x="84" y="405"/>
                  <a:pt x="163" y="418"/>
                  <a:pt x="245" y="420"/>
                </a:cubicBezTo>
                <a:cubicBezTo>
                  <a:pt x="326" y="422"/>
                  <a:pt x="407" y="413"/>
                  <a:pt x="487" y="398"/>
                </a:cubicBezTo>
                <a:cubicBezTo>
                  <a:pt x="631" y="371"/>
                  <a:pt x="769" y="325"/>
                  <a:pt x="905" y="272"/>
                </a:cubicBezTo>
                <a:cubicBezTo>
                  <a:pt x="1077" y="205"/>
                  <a:pt x="1244" y="125"/>
                  <a:pt x="1407" y="38"/>
                </a:cubicBezTo>
                <a:cubicBezTo>
                  <a:pt x="1430" y="26"/>
                  <a:pt x="1454" y="14"/>
                  <a:pt x="1477" y="0"/>
                </a:cubicBezTo>
                <a:cubicBezTo>
                  <a:pt x="1478" y="0"/>
                  <a:pt x="1480" y="0"/>
                  <a:pt x="1482" y="0"/>
                </a:cubicBezTo>
                <a:cubicBezTo>
                  <a:pt x="1485" y="2"/>
                  <a:pt x="1488" y="4"/>
                  <a:pt x="1491" y="6"/>
                </a:cubicBezTo>
                <a:cubicBezTo>
                  <a:pt x="1574" y="57"/>
                  <a:pt x="1653" y="114"/>
                  <a:pt x="1726" y="180"/>
                </a:cubicBezTo>
                <a:cubicBezTo>
                  <a:pt x="1791" y="239"/>
                  <a:pt x="1848" y="305"/>
                  <a:pt x="1896" y="379"/>
                </a:cubicBezTo>
                <a:cubicBezTo>
                  <a:pt x="1964" y="486"/>
                  <a:pt x="2005" y="603"/>
                  <a:pt x="2019" y="730"/>
                </a:cubicBezTo>
                <a:cubicBezTo>
                  <a:pt x="2020" y="747"/>
                  <a:pt x="2022" y="764"/>
                  <a:pt x="2024" y="78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23"/>
          </p:nvPr>
        </p:nvSpPr>
        <p:spPr>
          <a:xfrm>
            <a:off x="0" y="1844780"/>
            <a:ext cx="6114065" cy="501322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cxnSp>
        <p:nvCxnSpPr>
          <p:cNvPr id="32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68760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3"/>
          <p:cNvSpPr>
            <a:spLocks noGrp="1"/>
          </p:cNvSpPr>
          <p:nvPr>
            <p:ph type="body" sz="quarter" idx="24"/>
          </p:nvPr>
        </p:nvSpPr>
        <p:spPr>
          <a:xfrm>
            <a:off x="6240463" y="1412875"/>
            <a:ext cx="5543550" cy="5040313"/>
          </a:xfrm>
        </p:spPr>
        <p:txBody>
          <a:bodyPr/>
          <a:lstStyle>
            <a:lvl1pPr>
              <a:spcBef>
                <a:spcPts val="1200"/>
              </a:spcBef>
              <a:defRPr sz="1600"/>
            </a:lvl1pPr>
            <a:lvl2pPr>
              <a:spcBef>
                <a:spcPts val="1200"/>
              </a:spcBef>
              <a:defRPr sz="1600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400"/>
            </a:lvl4pPr>
            <a:lvl5pPr>
              <a:spcBef>
                <a:spcPts val="80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5" name="Date Placeholder 24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/>
              <a:t>24-Jan-2018</a:t>
            </a:r>
            <a:endParaRPr lang="en-US" dirty="0"/>
          </a:p>
        </p:txBody>
      </p:sp>
      <p:sp>
        <p:nvSpPr>
          <p:cNvPr id="26" name="Footer Placeholder 25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ADM Automation Awareness</a:t>
            </a:r>
            <a:endParaRPr lang="en-US" dirty="0"/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205EFF-948D-4AF6-B54C-65639188FB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4345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icture placeholder in 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62049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1" y="1699130"/>
            <a:ext cx="6184327" cy="5158870"/>
          </a:xfrm>
          <a:custGeom>
            <a:avLst/>
            <a:gdLst>
              <a:gd name="connsiteX0" fmla="*/ 4509914 w 6184327"/>
              <a:gd name="connsiteY0" fmla="*/ 0 h 5158870"/>
              <a:gd name="connsiteX1" fmla="*/ 4528247 w 6184327"/>
              <a:gd name="connsiteY1" fmla="*/ 0 h 5158870"/>
              <a:gd name="connsiteX2" fmla="*/ 4555747 w 6184327"/>
              <a:gd name="connsiteY2" fmla="*/ 18337 h 5158870"/>
              <a:gd name="connsiteX3" fmla="*/ 5270733 w 6184327"/>
              <a:gd name="connsiteY3" fmla="*/ 550116 h 5158870"/>
              <a:gd name="connsiteX4" fmla="*/ 5793223 w 6184327"/>
              <a:gd name="connsiteY4" fmla="*/ 1158301 h 5158870"/>
              <a:gd name="connsiteX5" fmla="*/ 6169049 w 6184327"/>
              <a:gd name="connsiteY5" fmla="*/ 2231028 h 5158870"/>
              <a:gd name="connsiteX6" fmla="*/ 6184327 w 6184327"/>
              <a:gd name="connsiteY6" fmla="*/ 2389951 h 5158870"/>
              <a:gd name="connsiteX7" fmla="*/ 6184327 w 6184327"/>
              <a:gd name="connsiteY7" fmla="*/ 2692515 h 5158870"/>
              <a:gd name="connsiteX8" fmla="*/ 6165994 w 6184327"/>
              <a:gd name="connsiteY8" fmla="*/ 2903393 h 5158870"/>
              <a:gd name="connsiteX9" fmla="*/ 5918498 w 6184327"/>
              <a:gd name="connsiteY9" fmla="*/ 3960839 h 5158870"/>
              <a:gd name="connsiteX10" fmla="*/ 5426563 w 6184327"/>
              <a:gd name="connsiteY10" fmla="*/ 5119140 h 5158870"/>
              <a:gd name="connsiteX11" fmla="*/ 5392953 w 6184327"/>
              <a:gd name="connsiteY11" fmla="*/ 5158870 h 5158870"/>
              <a:gd name="connsiteX12" fmla="*/ 0 w 6184327"/>
              <a:gd name="connsiteY12" fmla="*/ 5158870 h 5158870"/>
              <a:gd name="connsiteX13" fmla="*/ 0 w 6184327"/>
              <a:gd name="connsiteY13" fmla="*/ 1121626 h 5158870"/>
              <a:gd name="connsiteX14" fmla="*/ 30555 w 6184327"/>
              <a:gd name="connsiteY14" fmla="*/ 1130795 h 5158870"/>
              <a:gd name="connsiteX15" fmla="*/ 745542 w 6184327"/>
              <a:gd name="connsiteY15" fmla="*/ 1283605 h 5158870"/>
              <a:gd name="connsiteX16" fmla="*/ 1488027 w 6184327"/>
              <a:gd name="connsiteY16" fmla="*/ 1216369 h 5158870"/>
              <a:gd name="connsiteX17" fmla="*/ 2765225 w 6184327"/>
              <a:gd name="connsiteY17" fmla="*/ 831287 h 5158870"/>
              <a:gd name="connsiteX18" fmla="*/ 4299085 w 6184327"/>
              <a:gd name="connsiteY18" fmla="*/ 116136 h 5158870"/>
              <a:gd name="connsiteX19" fmla="*/ 4509914 w 6184327"/>
              <a:gd name="connsiteY19" fmla="*/ 0 h 5158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184327" h="5158870">
                <a:moveTo>
                  <a:pt x="4509914" y="0"/>
                </a:moveTo>
                <a:cubicBezTo>
                  <a:pt x="4516025" y="0"/>
                  <a:pt x="4522136" y="0"/>
                  <a:pt x="4528247" y="0"/>
                </a:cubicBezTo>
                <a:cubicBezTo>
                  <a:pt x="4537414" y="6112"/>
                  <a:pt x="4546580" y="15281"/>
                  <a:pt x="4555747" y="18337"/>
                </a:cubicBezTo>
                <a:cubicBezTo>
                  <a:pt x="4809353" y="177260"/>
                  <a:pt x="5050737" y="348407"/>
                  <a:pt x="5270733" y="550116"/>
                </a:cubicBezTo>
                <a:cubicBezTo>
                  <a:pt x="5469340" y="733489"/>
                  <a:pt x="5646559" y="932142"/>
                  <a:pt x="5793223" y="1158301"/>
                </a:cubicBezTo>
                <a:cubicBezTo>
                  <a:pt x="6000997" y="1488371"/>
                  <a:pt x="6126272" y="1845946"/>
                  <a:pt x="6169049" y="2231028"/>
                </a:cubicBezTo>
                <a:cubicBezTo>
                  <a:pt x="6172105" y="2282983"/>
                  <a:pt x="6178216" y="2334939"/>
                  <a:pt x="6184327" y="2389951"/>
                </a:cubicBezTo>
                <a:cubicBezTo>
                  <a:pt x="6184327" y="2490805"/>
                  <a:pt x="6184327" y="2591660"/>
                  <a:pt x="6184327" y="2692515"/>
                </a:cubicBezTo>
                <a:cubicBezTo>
                  <a:pt x="6178216" y="2762807"/>
                  <a:pt x="6172105" y="2833100"/>
                  <a:pt x="6165994" y="2903393"/>
                </a:cubicBezTo>
                <a:cubicBezTo>
                  <a:pt x="6123217" y="3267081"/>
                  <a:pt x="6034607" y="3618544"/>
                  <a:pt x="5918498" y="3960839"/>
                </a:cubicBezTo>
                <a:cubicBezTo>
                  <a:pt x="5781001" y="4358145"/>
                  <a:pt x="5612949" y="4743227"/>
                  <a:pt x="5426563" y="5119140"/>
                </a:cubicBezTo>
                <a:cubicBezTo>
                  <a:pt x="5414341" y="5137477"/>
                  <a:pt x="5405175" y="5152758"/>
                  <a:pt x="5392953" y="5158870"/>
                </a:cubicBezTo>
                <a:lnTo>
                  <a:pt x="0" y="5158870"/>
                </a:lnTo>
                <a:lnTo>
                  <a:pt x="0" y="1121626"/>
                </a:lnTo>
                <a:cubicBezTo>
                  <a:pt x="9167" y="1124683"/>
                  <a:pt x="21389" y="1127739"/>
                  <a:pt x="30555" y="1130795"/>
                </a:cubicBezTo>
                <a:cubicBezTo>
                  <a:pt x="256662" y="1237762"/>
                  <a:pt x="498046" y="1277493"/>
                  <a:pt x="745542" y="1283605"/>
                </a:cubicBezTo>
                <a:cubicBezTo>
                  <a:pt x="996092" y="1289718"/>
                  <a:pt x="1243588" y="1262212"/>
                  <a:pt x="1488027" y="1216369"/>
                </a:cubicBezTo>
                <a:cubicBezTo>
                  <a:pt x="1928019" y="1133851"/>
                  <a:pt x="2349677" y="993266"/>
                  <a:pt x="2765225" y="831287"/>
                </a:cubicBezTo>
                <a:cubicBezTo>
                  <a:pt x="3290771" y="626522"/>
                  <a:pt x="3797983" y="382025"/>
                  <a:pt x="4299085" y="116136"/>
                </a:cubicBezTo>
                <a:cubicBezTo>
                  <a:pt x="4369361" y="79461"/>
                  <a:pt x="4442693" y="42787"/>
                  <a:pt x="4509914" y="0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cxnSp>
        <p:nvCxnSpPr>
          <p:cNvPr id="19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68760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0"/>
          <p:cNvSpPr>
            <a:spLocks noGrp="1"/>
          </p:cNvSpPr>
          <p:nvPr>
            <p:ph type="body" sz="quarter" idx="28"/>
          </p:nvPr>
        </p:nvSpPr>
        <p:spPr>
          <a:xfrm>
            <a:off x="6240463" y="1412875"/>
            <a:ext cx="5543550" cy="5040313"/>
          </a:xfrm>
        </p:spPr>
        <p:txBody>
          <a:bodyPr/>
          <a:lstStyle>
            <a:lvl1pPr>
              <a:spcBef>
                <a:spcPts val="1200"/>
              </a:spcBef>
              <a:defRPr sz="1600"/>
            </a:lvl1pPr>
            <a:lvl2pPr>
              <a:spcBef>
                <a:spcPts val="1200"/>
              </a:spcBef>
              <a:defRPr sz="1600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400"/>
            </a:lvl4pPr>
            <a:lvl5pPr>
              <a:spcBef>
                <a:spcPts val="80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/>
              <a:t>24-Jan-2018</a:t>
            </a:r>
            <a:endParaRPr lang="en-US" dirty="0"/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dirty="0"/>
              <a:t>ADM Automation</a:t>
            </a:r>
          </a:p>
        </p:txBody>
      </p:sp>
      <p:sp>
        <p:nvSpPr>
          <p:cNvPr id="25" name="Slide Number Placeholder 24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205EFF-948D-4AF6-B54C-65639188FB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7403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3088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412605"/>
          </a:xfrm>
        </p:spPr>
        <p:txBody>
          <a:bodyPr anchor="ctr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8F95006-2348-4A05-B313-7E371F6F79D8}"/>
              </a:ext>
            </a:extLst>
          </p:cNvPr>
          <p:cNvSpPr/>
          <p:nvPr userDrawn="1"/>
        </p:nvSpPr>
        <p:spPr>
          <a:xfrm>
            <a:off x="11578358" y="6550968"/>
            <a:ext cx="38504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DD205EFF-948D-4AF6-B54C-65639188FB5F}" type="slidenum">
              <a:rPr lang="en-US" sz="9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‹#›</a:t>
            </a:fld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40199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495" y="367150"/>
            <a:ext cx="11201400" cy="65809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de-D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63408" y="734001"/>
            <a:ext cx="10384703" cy="219456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/>
              <a:t>24-Jan-2018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ADM Automation</a:t>
            </a:r>
          </a:p>
        </p:txBody>
      </p:sp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5E26E4AC-EFA9-4C9D-83B7-4AA6CD56347B}"/>
              </a:ext>
            </a:extLst>
          </p:cNvPr>
          <p:cNvSpPr txBox="1">
            <a:spLocks/>
          </p:cNvSpPr>
          <p:nvPr userDrawn="1"/>
        </p:nvSpPr>
        <p:spPr>
          <a:xfrm>
            <a:off x="11734800" y="6553200"/>
            <a:ext cx="123754" cy="215444"/>
          </a:xfrm>
          <a:prstGeom prst="rect">
            <a:avLst/>
          </a:prstGeom>
        </p:spPr>
        <p:txBody>
          <a:bodyPr wrap="none">
            <a:noAutofit/>
          </a:bodyPr>
          <a:lstStyle>
            <a:defPPr>
              <a:defRPr lang="pt-PT"/>
            </a:defPPr>
            <a:lvl1pPr marL="0" algn="ctr" defTabSz="914400" rtl="0" eaLnBrk="1" latinLnBrk="0" hangingPunct="1">
              <a:defRPr lang="de-DE" sz="800" kern="120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D205EFF-948D-4AF6-B54C-65639188FB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92535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07988" y="1412875"/>
            <a:ext cx="11376025" cy="50403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/>
              <a:t>24-Jan-2018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ADM Autom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1658600" y="6555758"/>
            <a:ext cx="123754" cy="215444"/>
          </a:xfrm>
        </p:spPr>
        <p:txBody>
          <a:bodyPr/>
          <a:lstStyle/>
          <a:p>
            <a:fld id="{DD205EFF-948D-4AF6-B54C-65639188FB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77584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3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48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28110265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2" name="think-cell Slide" r:id="rId46" imgW="360" imgH="360" progId="">
                  <p:embed/>
                </p:oleObj>
              </mc:Choice>
              <mc:Fallback>
                <p:oleObj name="think-cell Slide" r:id="rId46" imgW="360" imgH="360" progId="">
                  <p:embed/>
                  <p:pic>
                    <p:nvPicPr>
                      <p:cNvPr id="31" name="Object 3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pic>
        <p:nvPicPr>
          <p:cNvPr id="9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>
              <a:defRPr lang="de-DE" sz="800" kern="0" smtClean="0">
                <a:solidFill>
                  <a:srgbClr val="00458D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>
              <a:lnSpc>
                <a:spcPct val="85000"/>
              </a:lnSpc>
            </a:pPr>
            <a:r>
              <a:rPr lang="en-US"/>
              <a:t>24-Jan-2018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9324107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>
              <a:defRPr lang="de-DE" sz="80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defRPr>
            </a:lvl1pPr>
          </a:lstStyle>
          <a:p>
            <a:r>
              <a:rPr lang="en-US" dirty="0"/>
              <a:t>ADM Automation</a:t>
            </a:r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4"/>
          </p:nvPr>
        </p:nvSpPr>
        <p:spPr>
          <a:xfrm>
            <a:off x="11658600" y="6555758"/>
            <a:ext cx="123754" cy="215444"/>
          </a:xfrm>
          <a:prstGeom prst="rect">
            <a:avLst/>
          </a:prstGeom>
        </p:spPr>
        <p:txBody>
          <a:bodyPr wrap="none">
            <a:noAutofit/>
          </a:bodyPr>
          <a:lstStyle>
            <a:lvl1pPr algn="ctr">
              <a:defRPr lang="de-DE" sz="800" smtClean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defRPr>
            </a:lvl1pPr>
          </a:lstStyle>
          <a:p>
            <a:fld id="{DD205EFF-948D-4AF6-B54C-65639188FB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11568760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8624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  <p:sldLayoutId id="2147483689" r:id="rId27"/>
    <p:sldLayoutId id="2147483690" r:id="rId28"/>
    <p:sldLayoutId id="2147483691" r:id="rId29"/>
    <p:sldLayoutId id="2147483692" r:id="rId30"/>
    <p:sldLayoutId id="2147483693" r:id="rId31"/>
    <p:sldLayoutId id="2147483694" r:id="rId32"/>
    <p:sldLayoutId id="2147483695" r:id="rId33"/>
    <p:sldLayoutId id="2147483696" r:id="rId34"/>
    <p:sldLayoutId id="2147483697" r:id="rId35"/>
    <p:sldLayoutId id="2147483698" r:id="rId36"/>
    <p:sldLayoutId id="2147483699" r:id="rId37"/>
    <p:sldLayoutId id="2147483700" r:id="rId38"/>
    <p:sldLayoutId id="2147483701" r:id="rId39"/>
    <p:sldLayoutId id="2147483702" r:id="rId40"/>
    <p:sldLayoutId id="2147483703" r:id="rId41"/>
    <p:sldLayoutId id="2147483704" r:id="rId4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6938" indent="-179388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8" y="418452"/>
            <a:ext cx="11083532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486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ts val="14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pixabay.com/en/sad-unhappy-sorry-cheerless-smiley-98457/" TargetMode="External"/><Relationship Id="rId3" Type="http://schemas.openxmlformats.org/officeDocument/2006/relationships/image" Target="../media/image17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mmons.wikimedia.org/wiki/File:Face-plain.svg" TargetMode="External"/><Relationship Id="rId5" Type="http://schemas.openxmlformats.org/officeDocument/2006/relationships/image" Target="../media/image18.png"/><Relationship Id="rId4" Type="http://schemas.openxmlformats.org/officeDocument/2006/relationships/hyperlink" Target="https://es.wikipedia.org/wiki/Felicidad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CC67B3-B8FE-4E33-B127-1BC56A8EC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200" dirty="0"/>
              <a:t>Comparison – Google Document AI, AWS Textract, Azure Form Recognizer</a:t>
            </a:r>
          </a:p>
        </p:txBody>
      </p:sp>
      <p:graphicFrame>
        <p:nvGraphicFramePr>
          <p:cNvPr id="7" name="Table 11">
            <a:extLst>
              <a:ext uri="{FF2B5EF4-FFF2-40B4-BE49-F238E27FC236}">
                <a16:creationId xmlns:a16="http://schemas.microsoft.com/office/drawing/2014/main" id="{529E713B-773C-4DF1-8688-B97417C621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106239"/>
              </p:ext>
            </p:extLst>
          </p:nvPr>
        </p:nvGraphicFramePr>
        <p:xfrm>
          <a:off x="464025" y="1032268"/>
          <a:ext cx="11263949" cy="620656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034366">
                  <a:extLst>
                    <a:ext uri="{9D8B030D-6E8A-4147-A177-3AD203B41FA5}">
                      <a16:colId xmlns:a16="http://schemas.microsoft.com/office/drawing/2014/main" val="2344194703"/>
                    </a:ext>
                  </a:extLst>
                </a:gridCol>
                <a:gridCol w="1969795">
                  <a:extLst>
                    <a:ext uri="{9D8B030D-6E8A-4147-A177-3AD203B41FA5}">
                      <a16:colId xmlns:a16="http://schemas.microsoft.com/office/drawing/2014/main" val="2909277592"/>
                    </a:ext>
                  </a:extLst>
                </a:gridCol>
                <a:gridCol w="1861628">
                  <a:extLst>
                    <a:ext uri="{9D8B030D-6E8A-4147-A177-3AD203B41FA5}">
                      <a16:colId xmlns:a16="http://schemas.microsoft.com/office/drawing/2014/main" val="1728297875"/>
                    </a:ext>
                  </a:extLst>
                </a:gridCol>
                <a:gridCol w="3199080">
                  <a:extLst>
                    <a:ext uri="{9D8B030D-6E8A-4147-A177-3AD203B41FA5}">
                      <a16:colId xmlns:a16="http://schemas.microsoft.com/office/drawing/2014/main" val="2762731458"/>
                    </a:ext>
                  </a:extLst>
                </a:gridCol>
                <a:gridCol w="3199080">
                  <a:extLst>
                    <a:ext uri="{9D8B030D-6E8A-4147-A177-3AD203B41FA5}">
                      <a16:colId xmlns:a16="http://schemas.microsoft.com/office/drawing/2014/main" val="3372238805"/>
                    </a:ext>
                  </a:extLst>
                </a:gridCol>
              </a:tblGrid>
              <a:tr h="438439">
                <a:tc>
                  <a:txBody>
                    <a:bodyPr/>
                    <a:lstStyle/>
                    <a:p>
                      <a:r>
                        <a:rPr lang="en-US" sz="1300" dirty="0"/>
                        <a:t>Fe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Google Document A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AWS Textr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MS Azure Form Recogniz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Python Based Solu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5208273"/>
                  </a:ext>
                </a:extLst>
              </a:tr>
              <a:tr h="415364">
                <a:tc>
                  <a:txBody>
                    <a:bodyPr/>
                    <a:lstStyle/>
                    <a:p>
                      <a:r>
                        <a:rPr lang="en-US" sz="1200" b="1" dirty="0"/>
                        <a:t>Overall Ra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5760" marR="18288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5760" marR="18288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5760" marR="182880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5760" marR="182880"/>
                </a:tc>
                <a:extLst>
                  <a:ext uri="{0D108BD9-81ED-4DB2-BD59-A6C34878D82A}">
                    <a16:rowId xmlns:a16="http://schemas.microsoft.com/office/drawing/2014/main" val="4132046206"/>
                  </a:ext>
                </a:extLst>
              </a:tr>
              <a:tr h="415364">
                <a:tc>
                  <a:txBody>
                    <a:bodyPr/>
                    <a:lstStyle/>
                    <a:p>
                      <a:r>
                        <a:rPr lang="en-US" sz="1200" dirty="0"/>
                        <a:t>Input</a:t>
                      </a:r>
                      <a:r>
                        <a:rPr lang="en-US" sz="1200" baseline="0" dirty="0"/>
                        <a:t> File Typ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Only .pdf files</a:t>
                      </a:r>
                    </a:p>
                  </a:txBody>
                  <a:tcPr marL="365760" marR="18288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.pdf, .jpg, .</a:t>
                      </a:r>
                      <a:r>
                        <a:rPr lang="en-US" sz="1200" dirty="0" err="1"/>
                        <a:t>jfif</a:t>
                      </a:r>
                      <a:r>
                        <a:rPr lang="en-US" sz="1200" dirty="0"/>
                        <a:t>,</a:t>
                      </a:r>
                      <a:r>
                        <a:rPr lang="en-US" sz="1200" baseline="0" dirty="0"/>
                        <a:t> .</a:t>
                      </a:r>
                      <a:r>
                        <a:rPr lang="en-US" sz="1200" baseline="0" dirty="0" err="1"/>
                        <a:t>png</a:t>
                      </a:r>
                      <a:r>
                        <a:rPr lang="en-US" sz="1200" baseline="0" dirty="0"/>
                        <a:t>, .</a:t>
                      </a:r>
                      <a:r>
                        <a:rPr lang="en-US" sz="1200" baseline="0" dirty="0" err="1"/>
                        <a:t>tif</a:t>
                      </a:r>
                      <a:endParaRPr lang="en-US" sz="1200" dirty="0"/>
                    </a:p>
                  </a:txBody>
                  <a:tcPr marL="365760" marR="182880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.pdf, .jpg,</a:t>
                      </a:r>
                      <a:r>
                        <a:rPr lang="en-US" sz="1200" baseline="0" dirty="0"/>
                        <a:t> </a:t>
                      </a:r>
                      <a:r>
                        <a:rPr lang="en-US" sz="1200" dirty="0"/>
                        <a:t>.</a:t>
                      </a:r>
                      <a:r>
                        <a:rPr lang="en-US" sz="1200" dirty="0" err="1"/>
                        <a:t>jfif</a:t>
                      </a:r>
                      <a:r>
                        <a:rPr lang="en-US" sz="1200" dirty="0"/>
                        <a:t>,</a:t>
                      </a:r>
                      <a:r>
                        <a:rPr lang="en-US" sz="1200" baseline="0" dirty="0"/>
                        <a:t> .</a:t>
                      </a:r>
                      <a:r>
                        <a:rPr lang="en-US" sz="1200" baseline="0" dirty="0" err="1"/>
                        <a:t>png</a:t>
                      </a:r>
                      <a:r>
                        <a:rPr lang="en-US" sz="1200" baseline="0" dirty="0"/>
                        <a:t>, .</a:t>
                      </a:r>
                      <a:r>
                        <a:rPr lang="en-US" sz="1200" baseline="0" dirty="0" err="1"/>
                        <a:t>tif</a:t>
                      </a:r>
                      <a:endParaRPr lang="en-US" sz="1200" dirty="0"/>
                    </a:p>
                  </a:txBody>
                  <a:tcPr marL="365760" marR="182880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.jpg , .</a:t>
                      </a:r>
                      <a:r>
                        <a:rPr lang="en-US" sz="1200" dirty="0" err="1"/>
                        <a:t>png</a:t>
                      </a:r>
                      <a:r>
                        <a:rPr lang="en-US" sz="1200" dirty="0"/>
                        <a:t> , .pdf [ </a:t>
                      </a:r>
                      <a:r>
                        <a:rPr lang="en-US" sz="1200" dirty="0" err="1"/>
                        <a:t>Pytesseract</a:t>
                      </a:r>
                      <a:r>
                        <a:rPr lang="en-US" sz="1200" dirty="0"/>
                        <a:t>, </a:t>
                      </a:r>
                      <a:r>
                        <a:rPr lang="en-US" sz="1200" dirty="0" err="1"/>
                        <a:t>cameloft</a:t>
                      </a:r>
                      <a:r>
                        <a:rPr lang="en-US" sz="1200" dirty="0"/>
                        <a:t> ] </a:t>
                      </a:r>
                    </a:p>
                  </a:txBody>
                  <a:tcPr marL="365760" marR="18288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5364">
                <a:tc>
                  <a:txBody>
                    <a:bodyPr/>
                    <a:lstStyle/>
                    <a:p>
                      <a:r>
                        <a:rPr lang="en-US" sz="1200" dirty="0"/>
                        <a:t>OC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xcellent</a:t>
                      </a:r>
                    </a:p>
                  </a:txBody>
                  <a:tcPr marL="365760" marR="182880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xcellent</a:t>
                      </a:r>
                    </a:p>
                  </a:txBody>
                  <a:tcPr marL="365760" marR="182880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xcellent</a:t>
                      </a:r>
                    </a:p>
                  </a:txBody>
                  <a:tcPr marL="365760" marR="182880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xcellent [CV2 and </a:t>
                      </a:r>
                      <a:r>
                        <a:rPr lang="en-US" sz="1200" dirty="0" err="1"/>
                        <a:t>Pytesseract</a:t>
                      </a:r>
                      <a:r>
                        <a:rPr lang="en-US" sz="1200" dirty="0"/>
                        <a:t>]</a:t>
                      </a:r>
                    </a:p>
                  </a:txBody>
                  <a:tcPr marL="365760" marR="182880"/>
                </a:tc>
                <a:extLst>
                  <a:ext uri="{0D108BD9-81ED-4DB2-BD59-A6C34878D82A}">
                    <a16:rowId xmlns:a16="http://schemas.microsoft.com/office/drawing/2014/main" val="54963091"/>
                  </a:ext>
                </a:extLst>
              </a:tr>
              <a:tr h="1522999">
                <a:tc>
                  <a:txBody>
                    <a:bodyPr/>
                    <a:lstStyle/>
                    <a:p>
                      <a:r>
                        <a:rPr lang="en-US" sz="1200" dirty="0"/>
                        <a:t>Form Recognition (Key-Valu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xcellent</a:t>
                      </a:r>
                    </a:p>
                  </a:txBody>
                  <a:tcPr marL="365760" marR="182880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Good with well formatted images / PDFs. Order of text is sometimes changed.</a:t>
                      </a:r>
                    </a:p>
                    <a:p>
                      <a:r>
                        <a:rPr lang="en-US" sz="1200" dirty="0"/>
                        <a:t>Not so good with distorted docs.</a:t>
                      </a:r>
                    </a:p>
                  </a:txBody>
                  <a:tcPr marL="365760" marR="182880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orm detection is present, but the output is </a:t>
                      </a:r>
                      <a:r>
                        <a:rPr lang="en-US" sz="1200" dirty="0" err="1"/>
                        <a:t>json</a:t>
                      </a:r>
                      <a:r>
                        <a:rPr lang="en-US" sz="1200" dirty="0"/>
                        <a:t> format. Need a custom code to parse the </a:t>
                      </a:r>
                      <a:r>
                        <a:rPr lang="en-US" sz="1200" dirty="0" err="1"/>
                        <a:t>json</a:t>
                      </a:r>
                      <a:r>
                        <a:rPr lang="en-US" sz="1200" dirty="0"/>
                        <a:t> output</a:t>
                      </a:r>
                    </a:p>
                  </a:txBody>
                  <a:tcPr marL="365760" marR="182880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orm recognition is ok not so accurate </a:t>
                      </a:r>
                    </a:p>
                  </a:txBody>
                  <a:tcPr marL="365760" marR="182880"/>
                </a:tc>
                <a:extLst>
                  <a:ext uri="{0D108BD9-81ED-4DB2-BD59-A6C34878D82A}">
                    <a16:rowId xmlns:a16="http://schemas.microsoft.com/office/drawing/2014/main" val="2279101268"/>
                  </a:ext>
                </a:extLst>
              </a:tr>
              <a:tr h="1522999">
                <a:tc>
                  <a:txBody>
                    <a:bodyPr/>
                    <a:lstStyle/>
                    <a:p>
                      <a:r>
                        <a:rPr lang="en-US" sz="1200" dirty="0"/>
                        <a:t>Table Recogn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Good with nested Tables within</a:t>
                      </a:r>
                      <a:r>
                        <a:rPr lang="en-US" sz="1200" baseline="0" dirty="0"/>
                        <a:t> pdf. Ok with image tables as sometimes it merges columns in output.</a:t>
                      </a:r>
                      <a:endParaRPr lang="en-US" sz="1200" dirty="0"/>
                    </a:p>
                  </a:txBody>
                  <a:tcPr marL="365760" marR="182880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Good with well formatted images / PDFs. Order of text is sometimes changed.</a:t>
                      </a:r>
                    </a:p>
                    <a:p>
                      <a:r>
                        <a:rPr lang="en-US" sz="1200" dirty="0"/>
                        <a:t>Not so good with distorted docs.</a:t>
                      </a:r>
                    </a:p>
                  </a:txBody>
                  <a:tcPr marL="365760" marR="182880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able detection is present, but the output is </a:t>
                      </a:r>
                      <a:r>
                        <a:rPr lang="en-US" sz="1200" dirty="0" err="1"/>
                        <a:t>json</a:t>
                      </a:r>
                      <a:r>
                        <a:rPr lang="en-US" sz="1200" dirty="0"/>
                        <a:t> format. Need a custom code to parse the </a:t>
                      </a:r>
                      <a:r>
                        <a:rPr lang="en-US" sz="1200" dirty="0" err="1"/>
                        <a:t>json</a:t>
                      </a:r>
                      <a:r>
                        <a:rPr lang="en-US" sz="1200" dirty="0"/>
                        <a:t> output</a:t>
                      </a:r>
                    </a:p>
                  </a:txBody>
                  <a:tcPr marL="365760" marR="182880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Good with well formatted images / </a:t>
                      </a:r>
                      <a:r>
                        <a:rPr lang="en-US" sz="1200" dirty="0" err="1"/>
                        <a:t>PDFs.If</a:t>
                      </a:r>
                      <a:r>
                        <a:rPr lang="en-US" sz="1200" dirty="0"/>
                        <a:t> the boundaries are well marked the output is good . Nested table data picking also works.</a:t>
                      </a:r>
                    </a:p>
                  </a:txBody>
                  <a:tcPr marL="365760" marR="182880"/>
                </a:tc>
                <a:extLst>
                  <a:ext uri="{0D108BD9-81ED-4DB2-BD59-A6C34878D82A}">
                    <a16:rowId xmlns:a16="http://schemas.microsoft.com/office/drawing/2014/main" val="2566607789"/>
                  </a:ext>
                </a:extLst>
              </a:tr>
              <a:tr h="641057">
                <a:tc>
                  <a:txBody>
                    <a:bodyPr/>
                    <a:lstStyle/>
                    <a:p>
                      <a:r>
                        <a:rPr lang="en-US" sz="1200" dirty="0"/>
                        <a:t>Text Extraction from Im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upported</a:t>
                      </a:r>
                    </a:p>
                  </a:txBody>
                  <a:tcPr marL="365760" marR="182880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upported</a:t>
                      </a:r>
                    </a:p>
                  </a:txBody>
                  <a:tcPr marL="365760" marR="18288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upported</a:t>
                      </a:r>
                    </a:p>
                  </a:txBody>
                  <a:tcPr marL="365760" marR="18288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upported [ </a:t>
                      </a:r>
                      <a:r>
                        <a:rPr lang="en-US" sz="1200" dirty="0" err="1"/>
                        <a:t>Pytesseract</a:t>
                      </a:r>
                      <a:r>
                        <a:rPr lang="en-US" sz="1200" dirty="0"/>
                        <a:t> , CV2 ]</a:t>
                      </a:r>
                    </a:p>
                  </a:txBody>
                  <a:tcPr marL="365760" marR="182880"/>
                </a:tc>
                <a:extLst>
                  <a:ext uri="{0D108BD9-81ED-4DB2-BD59-A6C34878D82A}">
                    <a16:rowId xmlns:a16="http://schemas.microsoft.com/office/drawing/2014/main" val="1473527607"/>
                  </a:ext>
                </a:extLst>
              </a:tr>
              <a:tr h="41536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Pric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~$65 per 1000 pages</a:t>
                      </a:r>
                    </a:p>
                  </a:txBody>
                  <a:tcPr marL="365760" marR="182880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~$80 per 1000 pages</a:t>
                      </a:r>
                    </a:p>
                  </a:txBody>
                  <a:tcPr marL="365760" marR="18288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~$50 per 1000 pages</a:t>
                      </a:r>
                    </a:p>
                  </a:txBody>
                  <a:tcPr marL="365760" marR="18288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No Cost Involved </a:t>
                      </a:r>
                    </a:p>
                  </a:txBody>
                  <a:tcPr marL="365760" marR="182880"/>
                </a:tc>
                <a:extLst>
                  <a:ext uri="{0D108BD9-81ED-4DB2-BD59-A6C34878D82A}">
                    <a16:rowId xmlns:a16="http://schemas.microsoft.com/office/drawing/2014/main" val="3069123541"/>
                  </a:ext>
                </a:extLst>
              </a:tr>
            </a:tbl>
          </a:graphicData>
        </a:graphic>
      </p:graphicFrame>
      <p:pic>
        <p:nvPicPr>
          <p:cNvPr id="52" name="Picture 51" descr="A picture containing icon&#10;&#10;Description automatically generated">
            <a:extLst>
              <a:ext uri="{FF2B5EF4-FFF2-40B4-BE49-F238E27FC236}">
                <a16:creationId xmlns:a16="http://schemas.microsoft.com/office/drawing/2014/main" id="{5044B2E1-2156-4847-805B-7C70B583BF2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2961322" y="2462639"/>
            <a:ext cx="291356" cy="291356"/>
          </a:xfrm>
          <a:prstGeom prst="rect">
            <a:avLst/>
          </a:prstGeom>
        </p:spPr>
      </p:pic>
      <p:pic>
        <p:nvPicPr>
          <p:cNvPr id="53" name="Picture 52" descr="A picture containing icon&#10;&#10;Description automatically generated">
            <a:extLst>
              <a:ext uri="{FF2B5EF4-FFF2-40B4-BE49-F238E27FC236}">
                <a16:creationId xmlns:a16="http://schemas.microsoft.com/office/drawing/2014/main" id="{0F390F84-47E8-4137-8048-36F12144D9E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4956608" y="2443671"/>
            <a:ext cx="291356" cy="291356"/>
          </a:xfrm>
          <a:prstGeom prst="rect">
            <a:avLst/>
          </a:prstGeom>
        </p:spPr>
      </p:pic>
      <p:pic>
        <p:nvPicPr>
          <p:cNvPr id="54" name="Picture 53" descr="A picture containing icon&#10;&#10;Description automatically generated">
            <a:extLst>
              <a:ext uri="{FF2B5EF4-FFF2-40B4-BE49-F238E27FC236}">
                <a16:creationId xmlns:a16="http://schemas.microsoft.com/office/drawing/2014/main" id="{FB8C9C91-805B-4973-A88B-D9CF7CC9EAF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7979208" y="2478802"/>
            <a:ext cx="291356" cy="291356"/>
          </a:xfrm>
          <a:prstGeom prst="rect">
            <a:avLst/>
          </a:prstGeom>
        </p:spPr>
      </p:pic>
      <p:pic>
        <p:nvPicPr>
          <p:cNvPr id="55" name="Picture 54" descr="A picture containing icon&#10;&#10;Description automatically generated">
            <a:extLst>
              <a:ext uri="{FF2B5EF4-FFF2-40B4-BE49-F238E27FC236}">
                <a16:creationId xmlns:a16="http://schemas.microsoft.com/office/drawing/2014/main" id="{A3B4972A-F45D-4719-9A34-BF1FDCAF115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2949335" y="3200650"/>
            <a:ext cx="291356" cy="291356"/>
          </a:xfrm>
          <a:prstGeom prst="rect">
            <a:avLst/>
          </a:prstGeom>
        </p:spPr>
      </p:pic>
      <p:pic>
        <p:nvPicPr>
          <p:cNvPr id="59" name="Picture 58" descr="A picture containing icon&#10;&#10;Description automatically generated">
            <a:extLst>
              <a:ext uri="{FF2B5EF4-FFF2-40B4-BE49-F238E27FC236}">
                <a16:creationId xmlns:a16="http://schemas.microsoft.com/office/drawing/2014/main" id="{1FB6F50B-8A8E-4792-BEBD-247E4555D9B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3013841" y="5519670"/>
            <a:ext cx="291356" cy="291356"/>
          </a:xfrm>
          <a:prstGeom prst="rect">
            <a:avLst/>
          </a:prstGeom>
        </p:spPr>
      </p:pic>
      <p:pic>
        <p:nvPicPr>
          <p:cNvPr id="62" name="Picture 61" descr="A picture containing icon&#10;&#10;Description automatically generated">
            <a:extLst>
              <a:ext uri="{FF2B5EF4-FFF2-40B4-BE49-F238E27FC236}">
                <a16:creationId xmlns:a16="http://schemas.microsoft.com/office/drawing/2014/main" id="{A01BEC92-F85F-405E-859D-C719215CA1A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7939243" y="6803211"/>
            <a:ext cx="291356" cy="291356"/>
          </a:xfrm>
          <a:prstGeom prst="rect">
            <a:avLst/>
          </a:prstGeom>
        </p:spPr>
      </p:pic>
      <p:grpSp>
        <p:nvGrpSpPr>
          <p:cNvPr id="71" name="Group 70">
            <a:extLst>
              <a:ext uri="{FF2B5EF4-FFF2-40B4-BE49-F238E27FC236}">
                <a16:creationId xmlns:a16="http://schemas.microsoft.com/office/drawing/2014/main" id="{52B0CBFC-25C6-402C-B64D-DD4853D848F0}"/>
              </a:ext>
            </a:extLst>
          </p:cNvPr>
          <p:cNvGrpSpPr/>
          <p:nvPr/>
        </p:nvGrpSpPr>
        <p:grpSpPr>
          <a:xfrm>
            <a:off x="7014036" y="1267517"/>
            <a:ext cx="984576" cy="182880"/>
            <a:chOff x="434843" y="5498333"/>
            <a:chExt cx="984576" cy="182880"/>
          </a:xfrm>
        </p:grpSpPr>
        <p:sp>
          <p:nvSpPr>
            <p:cNvPr id="80" name="Star: 5 Points 79">
              <a:extLst>
                <a:ext uri="{FF2B5EF4-FFF2-40B4-BE49-F238E27FC236}">
                  <a16:creationId xmlns:a16="http://schemas.microsoft.com/office/drawing/2014/main" id="{221FA0E1-8CBD-4797-BBFF-34CE6781098A}"/>
                </a:ext>
              </a:extLst>
            </p:cNvPr>
            <p:cNvSpPr/>
            <p:nvPr/>
          </p:nvSpPr>
          <p:spPr>
            <a:xfrm>
              <a:off x="434843" y="5498333"/>
              <a:ext cx="182880" cy="182880"/>
            </a:xfrm>
            <a:prstGeom prst="star5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81" name="Star: 5 Points 80">
              <a:extLst>
                <a:ext uri="{FF2B5EF4-FFF2-40B4-BE49-F238E27FC236}">
                  <a16:creationId xmlns:a16="http://schemas.microsoft.com/office/drawing/2014/main" id="{C626B29F-EC20-4B24-9F78-32B654F0533E}"/>
                </a:ext>
              </a:extLst>
            </p:cNvPr>
            <p:cNvSpPr/>
            <p:nvPr/>
          </p:nvSpPr>
          <p:spPr>
            <a:xfrm>
              <a:off x="631763" y="5498333"/>
              <a:ext cx="182880" cy="182880"/>
            </a:xfrm>
            <a:prstGeom prst="star5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82" name="Star: 5 Points 81">
              <a:extLst>
                <a:ext uri="{FF2B5EF4-FFF2-40B4-BE49-F238E27FC236}">
                  <a16:creationId xmlns:a16="http://schemas.microsoft.com/office/drawing/2014/main" id="{1B81DA90-BD33-4AF4-83D8-4419B1F8C79C}"/>
                </a:ext>
              </a:extLst>
            </p:cNvPr>
            <p:cNvSpPr/>
            <p:nvPr/>
          </p:nvSpPr>
          <p:spPr>
            <a:xfrm>
              <a:off x="842738" y="5498333"/>
              <a:ext cx="182880" cy="182880"/>
            </a:xfrm>
            <a:prstGeom prst="star5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83" name="Star: 5 Points 82">
              <a:extLst>
                <a:ext uri="{FF2B5EF4-FFF2-40B4-BE49-F238E27FC236}">
                  <a16:creationId xmlns:a16="http://schemas.microsoft.com/office/drawing/2014/main" id="{0B8C1102-1DD4-4C1E-8E75-92AEFEB48A01}"/>
                </a:ext>
              </a:extLst>
            </p:cNvPr>
            <p:cNvSpPr/>
            <p:nvPr/>
          </p:nvSpPr>
          <p:spPr>
            <a:xfrm>
              <a:off x="1039650" y="5498333"/>
              <a:ext cx="182880" cy="182880"/>
            </a:xfrm>
            <a:prstGeom prst="star5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84" name="Star: 5 Points 83">
              <a:extLst>
                <a:ext uri="{FF2B5EF4-FFF2-40B4-BE49-F238E27FC236}">
                  <a16:creationId xmlns:a16="http://schemas.microsoft.com/office/drawing/2014/main" id="{EF6DAB9F-C05C-4AEF-BDF0-B216CDE4D736}"/>
                </a:ext>
              </a:extLst>
            </p:cNvPr>
            <p:cNvSpPr/>
            <p:nvPr/>
          </p:nvSpPr>
          <p:spPr>
            <a:xfrm>
              <a:off x="1236539" y="5498333"/>
              <a:ext cx="182880" cy="182880"/>
            </a:xfrm>
            <a:prstGeom prst="star5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A82C02FE-FB1A-4DC3-80A2-7D6D96F38640}"/>
              </a:ext>
            </a:extLst>
          </p:cNvPr>
          <p:cNvGrpSpPr/>
          <p:nvPr/>
        </p:nvGrpSpPr>
        <p:grpSpPr>
          <a:xfrm>
            <a:off x="4210461" y="1271550"/>
            <a:ext cx="984576" cy="182880"/>
            <a:chOff x="434843" y="5498333"/>
            <a:chExt cx="984576" cy="182880"/>
          </a:xfrm>
        </p:grpSpPr>
        <p:sp>
          <p:nvSpPr>
            <p:cNvPr id="86" name="Star: 5 Points 85">
              <a:extLst>
                <a:ext uri="{FF2B5EF4-FFF2-40B4-BE49-F238E27FC236}">
                  <a16:creationId xmlns:a16="http://schemas.microsoft.com/office/drawing/2014/main" id="{4ECDE98D-FDF3-4D6F-80FC-7ED75F41AB74}"/>
                </a:ext>
              </a:extLst>
            </p:cNvPr>
            <p:cNvSpPr/>
            <p:nvPr/>
          </p:nvSpPr>
          <p:spPr>
            <a:xfrm>
              <a:off x="434843" y="5498333"/>
              <a:ext cx="182880" cy="182880"/>
            </a:xfrm>
            <a:prstGeom prst="star5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87" name="Star: 5 Points 86">
              <a:extLst>
                <a:ext uri="{FF2B5EF4-FFF2-40B4-BE49-F238E27FC236}">
                  <a16:creationId xmlns:a16="http://schemas.microsoft.com/office/drawing/2014/main" id="{B859EC1D-6302-4529-94C8-C4FA13BB45ED}"/>
                </a:ext>
              </a:extLst>
            </p:cNvPr>
            <p:cNvSpPr/>
            <p:nvPr/>
          </p:nvSpPr>
          <p:spPr>
            <a:xfrm>
              <a:off x="631763" y="5498333"/>
              <a:ext cx="182880" cy="182880"/>
            </a:xfrm>
            <a:prstGeom prst="star5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88" name="Star: 5 Points 87">
              <a:extLst>
                <a:ext uri="{FF2B5EF4-FFF2-40B4-BE49-F238E27FC236}">
                  <a16:creationId xmlns:a16="http://schemas.microsoft.com/office/drawing/2014/main" id="{21B393C4-E206-4174-9B3F-BD5676CF8E2A}"/>
                </a:ext>
              </a:extLst>
            </p:cNvPr>
            <p:cNvSpPr/>
            <p:nvPr/>
          </p:nvSpPr>
          <p:spPr>
            <a:xfrm>
              <a:off x="842738" y="5498333"/>
              <a:ext cx="182880" cy="182880"/>
            </a:xfrm>
            <a:prstGeom prst="star5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89" name="Star: 5 Points 88">
              <a:extLst>
                <a:ext uri="{FF2B5EF4-FFF2-40B4-BE49-F238E27FC236}">
                  <a16:creationId xmlns:a16="http://schemas.microsoft.com/office/drawing/2014/main" id="{AF4C6354-42B4-4D30-9B5E-AE3B4226E8D4}"/>
                </a:ext>
              </a:extLst>
            </p:cNvPr>
            <p:cNvSpPr/>
            <p:nvPr/>
          </p:nvSpPr>
          <p:spPr>
            <a:xfrm>
              <a:off x="1039650" y="5498333"/>
              <a:ext cx="182880" cy="182880"/>
            </a:xfrm>
            <a:prstGeom prst="star5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90" name="Star: 5 Points 89">
              <a:extLst>
                <a:ext uri="{FF2B5EF4-FFF2-40B4-BE49-F238E27FC236}">
                  <a16:creationId xmlns:a16="http://schemas.microsoft.com/office/drawing/2014/main" id="{1A8703B7-4CDF-411B-8354-14DEBBE56542}"/>
                </a:ext>
              </a:extLst>
            </p:cNvPr>
            <p:cNvSpPr/>
            <p:nvPr/>
          </p:nvSpPr>
          <p:spPr>
            <a:xfrm>
              <a:off x="1236539" y="5498333"/>
              <a:ext cx="182880" cy="182880"/>
            </a:xfrm>
            <a:prstGeom prst="star5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2B0CBFC-25C6-402C-B64D-DD4853D848F0}"/>
              </a:ext>
            </a:extLst>
          </p:cNvPr>
          <p:cNvGrpSpPr/>
          <p:nvPr/>
        </p:nvGrpSpPr>
        <p:grpSpPr>
          <a:xfrm>
            <a:off x="9817611" y="1297404"/>
            <a:ext cx="984576" cy="182880"/>
            <a:chOff x="434843" y="5498333"/>
            <a:chExt cx="984576" cy="182880"/>
          </a:xfrm>
        </p:grpSpPr>
        <p:sp>
          <p:nvSpPr>
            <p:cNvPr id="44" name="Star: 5 Points 79">
              <a:extLst>
                <a:ext uri="{FF2B5EF4-FFF2-40B4-BE49-F238E27FC236}">
                  <a16:creationId xmlns:a16="http://schemas.microsoft.com/office/drawing/2014/main" id="{221FA0E1-8CBD-4797-BBFF-34CE6781098A}"/>
                </a:ext>
              </a:extLst>
            </p:cNvPr>
            <p:cNvSpPr/>
            <p:nvPr/>
          </p:nvSpPr>
          <p:spPr>
            <a:xfrm>
              <a:off x="434843" y="5498333"/>
              <a:ext cx="182880" cy="182880"/>
            </a:xfrm>
            <a:prstGeom prst="star5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5" name="Star: 5 Points 80">
              <a:extLst>
                <a:ext uri="{FF2B5EF4-FFF2-40B4-BE49-F238E27FC236}">
                  <a16:creationId xmlns:a16="http://schemas.microsoft.com/office/drawing/2014/main" id="{C626B29F-EC20-4B24-9F78-32B654F0533E}"/>
                </a:ext>
              </a:extLst>
            </p:cNvPr>
            <p:cNvSpPr/>
            <p:nvPr/>
          </p:nvSpPr>
          <p:spPr>
            <a:xfrm>
              <a:off x="631763" y="5498333"/>
              <a:ext cx="182880" cy="182880"/>
            </a:xfrm>
            <a:prstGeom prst="star5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6" name="Star: 5 Points 81">
              <a:extLst>
                <a:ext uri="{FF2B5EF4-FFF2-40B4-BE49-F238E27FC236}">
                  <a16:creationId xmlns:a16="http://schemas.microsoft.com/office/drawing/2014/main" id="{1B81DA90-BD33-4AF4-83D8-4419B1F8C79C}"/>
                </a:ext>
              </a:extLst>
            </p:cNvPr>
            <p:cNvSpPr/>
            <p:nvPr/>
          </p:nvSpPr>
          <p:spPr>
            <a:xfrm>
              <a:off x="842738" y="5498333"/>
              <a:ext cx="182880" cy="182880"/>
            </a:xfrm>
            <a:prstGeom prst="star5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7" name="Star: 5 Points 82">
              <a:extLst>
                <a:ext uri="{FF2B5EF4-FFF2-40B4-BE49-F238E27FC236}">
                  <a16:creationId xmlns:a16="http://schemas.microsoft.com/office/drawing/2014/main" id="{0B8C1102-1DD4-4C1E-8E75-92AEFEB48A01}"/>
                </a:ext>
              </a:extLst>
            </p:cNvPr>
            <p:cNvSpPr/>
            <p:nvPr/>
          </p:nvSpPr>
          <p:spPr>
            <a:xfrm>
              <a:off x="1039650" y="5498333"/>
              <a:ext cx="182880" cy="182880"/>
            </a:xfrm>
            <a:prstGeom prst="star5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Star: 5 Points 83">
              <a:extLst>
                <a:ext uri="{FF2B5EF4-FFF2-40B4-BE49-F238E27FC236}">
                  <a16:creationId xmlns:a16="http://schemas.microsoft.com/office/drawing/2014/main" id="{EF6DAB9F-C05C-4AEF-BDF0-B216CDE4D736}"/>
                </a:ext>
              </a:extLst>
            </p:cNvPr>
            <p:cNvSpPr/>
            <p:nvPr/>
          </p:nvSpPr>
          <p:spPr>
            <a:xfrm>
              <a:off x="1236539" y="5498333"/>
              <a:ext cx="182880" cy="182880"/>
            </a:xfrm>
            <a:prstGeom prst="star5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50" name="Picture 49" descr="Icon&#10;&#10;Description automatically generated">
            <a:extLst>
              <a:ext uri="{FF2B5EF4-FFF2-40B4-BE49-F238E27FC236}">
                <a16:creationId xmlns:a16="http://schemas.microsoft.com/office/drawing/2014/main" id="{22C9A2BA-3A74-45F6-B6B1-B80F46D6BEA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7998612" y="3755974"/>
            <a:ext cx="295284" cy="295284"/>
          </a:xfrm>
          <a:prstGeom prst="rect">
            <a:avLst/>
          </a:prstGeom>
        </p:spPr>
      </p:pic>
      <p:pic>
        <p:nvPicPr>
          <p:cNvPr id="51" name="Picture 50" descr="Icon&#10;&#10;Description automatically generated">
            <a:extLst>
              <a:ext uri="{FF2B5EF4-FFF2-40B4-BE49-F238E27FC236}">
                <a16:creationId xmlns:a16="http://schemas.microsoft.com/office/drawing/2014/main" id="{F295CBD7-8BEC-42F0-9F42-1FEA7EB9B2F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7999751" y="5338815"/>
            <a:ext cx="295284" cy="295284"/>
          </a:xfrm>
          <a:prstGeom prst="rect">
            <a:avLst/>
          </a:prstGeom>
        </p:spPr>
      </p:pic>
      <p:pic>
        <p:nvPicPr>
          <p:cNvPr id="66" name="Picture 65" descr="A picture containing icon&#10;&#10;Description automatically generated">
            <a:extLst>
              <a:ext uri="{FF2B5EF4-FFF2-40B4-BE49-F238E27FC236}">
                <a16:creationId xmlns:a16="http://schemas.microsoft.com/office/drawing/2014/main" id="{465E31FC-B2EA-46E7-9D2E-CF61A2D11EF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7979208" y="6118157"/>
            <a:ext cx="291356" cy="291356"/>
          </a:xfrm>
          <a:prstGeom prst="rect">
            <a:avLst/>
          </a:prstGeom>
        </p:spPr>
      </p:pic>
      <p:pic>
        <p:nvPicPr>
          <p:cNvPr id="67" name="Picture 66" descr="A picture containing icon&#10;&#10;Description automatically generated">
            <a:extLst>
              <a:ext uri="{FF2B5EF4-FFF2-40B4-BE49-F238E27FC236}">
                <a16:creationId xmlns:a16="http://schemas.microsoft.com/office/drawing/2014/main" id="{A3B4972A-F45D-4719-9A34-BF1FDCAF115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4903681" y="3560632"/>
            <a:ext cx="291356" cy="291356"/>
          </a:xfrm>
          <a:prstGeom prst="rect">
            <a:avLst/>
          </a:prstGeom>
        </p:spPr>
      </p:pic>
      <p:pic>
        <p:nvPicPr>
          <p:cNvPr id="68" name="Picture 67" descr="A picture containing icon&#10;&#10;Description automatically generated">
            <a:extLst>
              <a:ext uri="{FF2B5EF4-FFF2-40B4-BE49-F238E27FC236}">
                <a16:creationId xmlns:a16="http://schemas.microsoft.com/office/drawing/2014/main" id="{A3B4972A-F45D-4719-9A34-BF1FDCAF115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4866479" y="5138638"/>
            <a:ext cx="291356" cy="291356"/>
          </a:xfrm>
          <a:prstGeom prst="rect">
            <a:avLst/>
          </a:prstGeom>
        </p:spPr>
      </p:pic>
      <p:pic>
        <p:nvPicPr>
          <p:cNvPr id="69" name="Picture 68" descr="Icon&#10;&#10;Description automatically generated">
            <a:extLst>
              <a:ext uri="{FF2B5EF4-FFF2-40B4-BE49-F238E27FC236}">
                <a16:creationId xmlns:a16="http://schemas.microsoft.com/office/drawing/2014/main" id="{D336537C-4A4E-4E13-8AC0-4E6193CDDAB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4976790" y="6807103"/>
            <a:ext cx="240790" cy="240790"/>
          </a:xfrm>
          <a:prstGeom prst="rect">
            <a:avLst/>
          </a:prstGeom>
        </p:spPr>
      </p:pic>
      <p:pic>
        <p:nvPicPr>
          <p:cNvPr id="73" name="Picture 72" descr="Icon&#10;&#10;Description automatically generated">
            <a:extLst>
              <a:ext uri="{FF2B5EF4-FFF2-40B4-BE49-F238E27FC236}">
                <a16:creationId xmlns:a16="http://schemas.microsoft.com/office/drawing/2014/main" id="{967B008B-7D1A-4F4B-B20C-38C59D6E3CC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2945407" y="6809670"/>
            <a:ext cx="295284" cy="295284"/>
          </a:xfrm>
          <a:prstGeom prst="rect">
            <a:avLst/>
          </a:prstGeom>
        </p:spPr>
      </p:pic>
      <p:pic>
        <p:nvPicPr>
          <p:cNvPr id="95" name="Picture 94" descr="A picture containing icon&#10;&#10;Description automatically generated">
            <a:extLst>
              <a:ext uri="{FF2B5EF4-FFF2-40B4-BE49-F238E27FC236}">
                <a16:creationId xmlns:a16="http://schemas.microsoft.com/office/drawing/2014/main" id="{A3B4972A-F45D-4719-9A34-BF1FDCAF115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4873119" y="5921328"/>
            <a:ext cx="291356" cy="291356"/>
          </a:xfrm>
          <a:prstGeom prst="rect">
            <a:avLst/>
          </a:prstGeom>
        </p:spPr>
      </p:pic>
      <p:pic>
        <p:nvPicPr>
          <p:cNvPr id="57" name="Picture 56" descr="Icon&#10;&#10;Description automatically generated">
            <a:extLst>
              <a:ext uri="{FF2B5EF4-FFF2-40B4-BE49-F238E27FC236}">
                <a16:creationId xmlns:a16="http://schemas.microsoft.com/office/drawing/2014/main" id="{D336537C-4A4E-4E13-8AC0-4E6193CDDAB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2999901" y="2057203"/>
            <a:ext cx="240790" cy="240790"/>
          </a:xfrm>
          <a:prstGeom prst="rect">
            <a:avLst/>
          </a:prstGeom>
        </p:spPr>
      </p:pic>
      <p:pic>
        <p:nvPicPr>
          <p:cNvPr id="58" name="Picture 57" descr="A picture containing icon&#10;&#10;Description automatically generated">
            <a:extLst>
              <a:ext uri="{FF2B5EF4-FFF2-40B4-BE49-F238E27FC236}">
                <a16:creationId xmlns:a16="http://schemas.microsoft.com/office/drawing/2014/main" id="{A3B4972A-F45D-4719-9A34-BF1FDCAF115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2961322" y="6079632"/>
            <a:ext cx="291356" cy="291356"/>
          </a:xfrm>
          <a:prstGeom prst="rect">
            <a:avLst/>
          </a:prstGeom>
        </p:spPr>
      </p:pic>
      <p:pic>
        <p:nvPicPr>
          <p:cNvPr id="60" name="Picture 59" descr="A picture containing icon&#10;&#10;Description automatically generated">
            <a:extLst>
              <a:ext uri="{FF2B5EF4-FFF2-40B4-BE49-F238E27FC236}">
                <a16:creationId xmlns:a16="http://schemas.microsoft.com/office/drawing/2014/main" id="{0F390F84-47E8-4137-8048-36F12144D9E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4957919" y="2057203"/>
            <a:ext cx="291356" cy="291356"/>
          </a:xfrm>
          <a:prstGeom prst="rect">
            <a:avLst/>
          </a:prstGeom>
        </p:spPr>
      </p:pic>
      <p:pic>
        <p:nvPicPr>
          <p:cNvPr id="61" name="Picture 60" descr="A picture containing icon&#10;&#10;Description automatically generated">
            <a:extLst>
              <a:ext uri="{FF2B5EF4-FFF2-40B4-BE49-F238E27FC236}">
                <a16:creationId xmlns:a16="http://schemas.microsoft.com/office/drawing/2014/main" id="{FB8C9C91-805B-4973-A88B-D9CF7CC9EAF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8023939" y="2004150"/>
            <a:ext cx="291356" cy="291356"/>
          </a:xfrm>
          <a:prstGeom prst="rect">
            <a:avLst/>
          </a:prstGeom>
        </p:spPr>
      </p:pic>
      <p:pic>
        <p:nvPicPr>
          <p:cNvPr id="56" name="Picture 55" descr="A picture containing icon&#10;&#10;Description automatically generated">
            <a:extLst>
              <a:ext uri="{FF2B5EF4-FFF2-40B4-BE49-F238E27FC236}">
                <a16:creationId xmlns:a16="http://schemas.microsoft.com/office/drawing/2014/main" id="{E25AAAF4-F0A1-497D-9918-CD64E7BB652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11356861" y="2149828"/>
            <a:ext cx="291356" cy="291356"/>
          </a:xfrm>
          <a:prstGeom prst="rect">
            <a:avLst/>
          </a:prstGeom>
        </p:spPr>
      </p:pic>
      <p:pic>
        <p:nvPicPr>
          <p:cNvPr id="63" name="Picture 62" descr="A picture containing icon&#10;&#10;Description automatically generated">
            <a:extLst>
              <a:ext uri="{FF2B5EF4-FFF2-40B4-BE49-F238E27FC236}">
                <a16:creationId xmlns:a16="http://schemas.microsoft.com/office/drawing/2014/main" id="{A15EEC8E-DA3A-4CB2-99BF-6E076A083A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11356861" y="2478802"/>
            <a:ext cx="291356" cy="291356"/>
          </a:xfrm>
          <a:prstGeom prst="rect">
            <a:avLst/>
          </a:prstGeom>
        </p:spPr>
      </p:pic>
      <p:pic>
        <p:nvPicPr>
          <p:cNvPr id="64" name="Picture 63" descr="Icon&#10;&#10;Description automatically generated">
            <a:extLst>
              <a:ext uri="{FF2B5EF4-FFF2-40B4-BE49-F238E27FC236}">
                <a16:creationId xmlns:a16="http://schemas.microsoft.com/office/drawing/2014/main" id="{FFE781C1-C395-4EC9-A627-65019BC544B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11276950" y="3755974"/>
            <a:ext cx="295284" cy="295284"/>
          </a:xfrm>
          <a:prstGeom prst="rect">
            <a:avLst/>
          </a:prstGeom>
        </p:spPr>
      </p:pic>
      <p:pic>
        <p:nvPicPr>
          <p:cNvPr id="65" name="Picture 64" descr="A picture containing icon&#10;&#10;Description automatically generated">
            <a:extLst>
              <a:ext uri="{FF2B5EF4-FFF2-40B4-BE49-F238E27FC236}">
                <a16:creationId xmlns:a16="http://schemas.microsoft.com/office/drawing/2014/main" id="{D7EDEDA1-DEDB-4B41-8C67-1AF59F7708E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11211183" y="5353056"/>
            <a:ext cx="291356" cy="291356"/>
          </a:xfrm>
          <a:prstGeom prst="rect">
            <a:avLst/>
          </a:prstGeom>
        </p:spPr>
      </p:pic>
      <p:pic>
        <p:nvPicPr>
          <p:cNvPr id="70" name="Picture 69" descr="A picture containing icon&#10;&#10;Description automatically generated">
            <a:extLst>
              <a:ext uri="{FF2B5EF4-FFF2-40B4-BE49-F238E27FC236}">
                <a16:creationId xmlns:a16="http://schemas.microsoft.com/office/drawing/2014/main" id="{F805DC37-AEFF-4EFB-91A1-087128D8AF4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11297988" y="6118157"/>
            <a:ext cx="291356" cy="291356"/>
          </a:xfrm>
          <a:prstGeom prst="rect">
            <a:avLst/>
          </a:prstGeom>
        </p:spPr>
      </p:pic>
      <p:pic>
        <p:nvPicPr>
          <p:cNvPr id="72" name="Picture 71" descr="A picture containing icon&#10;&#10;Description automatically generated">
            <a:extLst>
              <a:ext uri="{FF2B5EF4-FFF2-40B4-BE49-F238E27FC236}">
                <a16:creationId xmlns:a16="http://schemas.microsoft.com/office/drawing/2014/main" id="{A91AE47D-9DEC-4565-BDAB-962F303DA17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11353028" y="6862322"/>
            <a:ext cx="291356" cy="291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0355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Capgemini_Global_2017_light">
  <a:themeElements>
    <a:clrScheme name="Capgemini_112017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80B8D6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F999C"/>
      </a:accent6>
      <a:hlink>
        <a:srgbClr val="0070AD"/>
      </a:hlink>
      <a:folHlink>
        <a:srgbClr val="860864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 Capgemini Global 2017_light.potx" id="{949D4644-8D05-490A-804F-0516A770062C}" vid="{F554AABE-1105-435D-A41B-59D2E86B8648}"/>
    </a:ext>
  </a:extLst>
</a:theme>
</file>

<file path=ppt/theme/theme2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B504A320-BF0C-4A8E-8664-9644A9AF95D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127</TotalTime>
  <Words>270</Words>
  <Application>Microsoft Office PowerPoint</Application>
  <PresentationFormat>Widescreen</PresentationFormat>
  <Paragraphs>4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Calibri</vt:lpstr>
      <vt:lpstr>Source Sans Pro</vt:lpstr>
      <vt:lpstr>Source Sans Pro Black</vt:lpstr>
      <vt:lpstr>Source Sans Pro ExtraLight</vt:lpstr>
      <vt:lpstr>Verdana</vt:lpstr>
      <vt:lpstr>Wingdings</vt:lpstr>
      <vt:lpstr>Template_Capgemini_Global_2017_light</vt:lpstr>
      <vt:lpstr>Section slides</vt:lpstr>
      <vt:lpstr>think-cell Slide</vt:lpstr>
      <vt:lpstr>Comparison – Google Document AI, AWS Textract, Azure Form Recognize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d, Vinaykumar</dc:creator>
  <cp:lastModifiedBy>Yadav, Santhosh Kumar</cp:lastModifiedBy>
  <cp:revision>266</cp:revision>
  <dcterms:created xsi:type="dcterms:W3CDTF">2020-07-22T10:13:27Z</dcterms:created>
  <dcterms:modified xsi:type="dcterms:W3CDTF">2021-11-09T06:46:52Z</dcterms:modified>
</cp:coreProperties>
</file>